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6" r:id="rId4"/>
  </p:sldMasterIdLst>
  <p:notesMasterIdLst>
    <p:notesMasterId r:id="rId39"/>
  </p:notesMasterIdLst>
  <p:handoutMasterIdLst>
    <p:handoutMasterId r:id="rId40"/>
  </p:handoutMasterIdLst>
  <p:sldIdLst>
    <p:sldId id="5990" r:id="rId5"/>
    <p:sldId id="5991" r:id="rId6"/>
    <p:sldId id="6022" r:id="rId7"/>
    <p:sldId id="5993" r:id="rId8"/>
    <p:sldId id="5994" r:id="rId9"/>
    <p:sldId id="5992" r:id="rId10"/>
    <p:sldId id="5995" r:id="rId11"/>
    <p:sldId id="5996" r:id="rId12"/>
    <p:sldId id="5997" r:id="rId13"/>
    <p:sldId id="5998" r:id="rId14"/>
    <p:sldId id="5999" r:id="rId15"/>
    <p:sldId id="6000" r:id="rId16"/>
    <p:sldId id="6001" r:id="rId17"/>
    <p:sldId id="6002" r:id="rId18"/>
    <p:sldId id="6003" r:id="rId19"/>
    <p:sldId id="6004" r:id="rId20"/>
    <p:sldId id="6005" r:id="rId21"/>
    <p:sldId id="6006" r:id="rId22"/>
    <p:sldId id="6007" r:id="rId23"/>
    <p:sldId id="6008" r:id="rId24"/>
    <p:sldId id="6009" r:id="rId25"/>
    <p:sldId id="6010" r:id="rId26"/>
    <p:sldId id="6011" r:id="rId27"/>
    <p:sldId id="6012" r:id="rId28"/>
    <p:sldId id="6013" r:id="rId29"/>
    <p:sldId id="6014" r:id="rId30"/>
    <p:sldId id="6015" r:id="rId31"/>
    <p:sldId id="6016" r:id="rId32"/>
    <p:sldId id="6018" r:id="rId33"/>
    <p:sldId id="6019" r:id="rId34"/>
    <p:sldId id="6017" r:id="rId35"/>
    <p:sldId id="6020" r:id="rId36"/>
    <p:sldId id="6023" r:id="rId37"/>
    <p:sldId id="6021" r:id="rId38"/>
  </p:sldIdLst>
  <p:sldSz cx="12192000" cy="6858000"/>
  <p:notesSz cx="6858000" cy="9144000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35FE3B-7FEE-F9CA-6602-52F2C6A56FDA}" name="Makarova Ekaterina Igorevna" initials="MEI" userId="S::ekatemakarova@ozon.ru::df33a66a-aff7-4495-b141-877bb0962bb2" providerId="AD"/>
  <p188:author id="{5433AA87-8F28-4F76-44FE-E75104D3D962}" name="Ostrovlyanchik Pavel Viktorovich" initials="OPV" userId="S::postrovlyanchik@ozon.ru::5926a54d-3e0c-4345-9bfd-a8b860e1f6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trovlyanchik Pavel Viktorovich" initials="OP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A18"/>
    <a:srgbClr val="040038"/>
    <a:srgbClr val="F91155"/>
    <a:srgbClr val="FF497D"/>
    <a:srgbClr val="FCC4B8"/>
    <a:srgbClr val="5A6C7D"/>
    <a:srgbClr val="29AAF9"/>
    <a:srgbClr val="B7EDC9"/>
    <a:srgbClr val="222930"/>
    <a:srgbClr val="002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4A2982-056F-4F8E-A7C0-7B2B0B0CB698}">
  <a:tblStyle styleId="{914A2982-056F-4F8E-A7C0-7B2B0B0CB698}" styleName="Ozon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6350" cmpd="sng">
              <a:solidFill>
                <a:schemeClr val="accent6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2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20000"/>
            </a:schemeClr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solidFill>
            <a:schemeClr val="accent6">
              <a:alpha val="6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0" cmpd="sng">
              <a:solidFill>
                <a:schemeClr val="accent6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8467CCE-9AFA-45B7-9190-6F7425A13B29}" styleName="Ozon Dark">
    <a:wholeTbl>
      <a:tcTxStyle>
        <a:fontRef idx="minor">
          <a:prstClr val="black"/>
        </a:fontRef>
        <a:schemeClr val="lt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>
                  <a:alpha val="40000"/>
                </a:schemeClr>
              </a:solidFill>
            </a:ln>
          </a:top>
          <a:bottom>
            <a:ln w="12700" cmpd="sng">
              <a:solidFill>
                <a:schemeClr val="accent6">
                  <a:alpha val="40000"/>
                </a:schemeClr>
              </a:solidFill>
            </a:ln>
          </a:bottom>
          <a:insideH>
            <a:ln w="6350" cmpd="sng">
              <a:solidFill>
                <a:schemeClr val="accent6">
                  <a:alpha val="40000"/>
                </a:schemeClr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1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10000"/>
            </a:schemeClr>
          </a:solidFill>
        </a:fill>
      </a:tcStyle>
    </a:band2V>
    <a:la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lastCol>
    <a:fir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firstCol>
    <a:lastRow>
      <a:tcTxStyle b="on">
        <a:fontRef idx="minor">
          <a:prstClr val="white"/>
        </a:fontRef>
        <a:schemeClr val="lt2"/>
      </a:tcTxStyle>
      <a:tcStyle>
        <a:tcBdr>
          <a:top>
            <a:ln w="12700" cmpd="sng">
              <a:solidFill>
                <a:schemeClr val="accent6">
                  <a:alpha val="50000"/>
                </a:schemeClr>
              </a:solidFill>
            </a:ln>
          </a:top>
        </a:tcBdr>
        <a:fill>
          <a:solidFill>
            <a:schemeClr val="accent6">
              <a:alpha val="30000"/>
            </a:schemeClr>
          </a:solidFill>
        </a:fill>
      </a:tcStyle>
    </a:lastRow>
    <a:firstRow>
      <a:tcTxStyle b="on">
        <a:fontRef idx="minor">
          <a:prstClr val="white"/>
        </a:fontRef>
        <a:schemeClr val="lt2"/>
      </a:tcTxStyle>
      <a:tcStyle>
        <a:tcBdr>
          <a:bottom>
            <a:ln w="0" cmpd="sng">
              <a:solidFill>
                <a:schemeClr val="accent6">
                  <a:alpha val="35000"/>
                </a:schemeClr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39"/>
    <p:restoredTop sz="94564"/>
  </p:normalViewPr>
  <p:slideViewPr>
    <p:cSldViewPr snapToGrid="0">
      <p:cViewPr varScale="1">
        <p:scale>
          <a:sx n="70" d="100"/>
          <a:sy n="70" d="100"/>
        </p:scale>
        <p:origin x="968" y="52"/>
      </p:cViewPr>
      <p:guideLst>
        <p:guide orient="horz" pos="2160"/>
        <p:guide pos="3840"/>
      </p:guideLst>
    </p:cSldViewPr>
  </p:slideViewPr>
  <p:notesTextViewPr>
    <p:cViewPr>
      <p:scale>
        <a:sx n="70" d="100"/>
        <a:sy n="70" d="100"/>
      </p:scale>
      <p:origin x="0" y="0"/>
    </p:cViewPr>
  </p:notesTextViewPr>
  <p:sorterViewPr>
    <p:cViewPr>
      <p:scale>
        <a:sx n="50" d="100"/>
        <a:sy n="50" d="100"/>
      </p:scale>
      <p:origin x="0" y="-40942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367C0CF-F4C0-95C7-86F3-9E8EE40410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DA1C796-539B-2804-7940-1270DC3BEF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D7F4CF-5328-4739-960D-CA90DC7CEF08}" type="datetimeFigureOut">
              <a:rPr lang="ru-RU" smtClean="0">
                <a:latin typeface="Arial" panose="020B0604020202020204" pitchFamily="34" charset="0"/>
              </a:rPr>
              <a:t>04.03.2025</a:t>
            </a:fld>
            <a:endParaRPr lang="ru-RU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D4BBA8E-A71A-EF67-F4DE-6F8E4DB054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276695C-9635-EDED-B81C-5F145B6A0A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0B1485-3AA0-4E52-A81C-B7871651468E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07827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74A28E2-8F42-4A3C-8147-E3FFF422B139}" type="datetimeFigureOut">
              <a:rPr lang="ru-RU" smtClean="0"/>
              <a:pPr/>
              <a:t>04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50C9ADD-5F9E-49DE-A1DB-0FC1C68088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851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689FB-C8FC-BA16-C614-0C3FA7D61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308614B-9A75-5791-0D24-EAD23E4428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984390A-F42E-FD18-6357-1A524240D2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C36B171-397F-6D46-6769-CBCD50A7D9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C9ADD-5F9E-49DE-A1DB-0FC1C68088B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542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2CBB2-71B1-96F5-E1B5-84CF5BB2E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65E87AF-B441-512C-EE9C-76F1B69E56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B726542-24D0-6831-DB0D-DA09700F36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153F2CC-BF68-7BA1-FDCE-B9D6941CC7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C9ADD-5F9E-49DE-A1DB-0FC1C68088B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98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670823B-F74E-8791-1532-CF98E8BECB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5B2F7226-4181-51B3-0BF7-C4B60DE629F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03433882-C03B-C000-C623-A6053301C5C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пиши подзаголовок презентации, имя спикера </a:t>
            </a:r>
            <a:br>
              <a:rPr lang="ru-RU" dirty="0"/>
            </a:br>
            <a:r>
              <a:rPr lang="ru-RU" dirty="0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апиши смысловой заголовок презентации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508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CBFDDBA-C89E-74A9-2B9B-09F01BBBFF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B3BBE626-21CF-2C0F-49DC-7B9189E1351C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1CF7CFB8-8200-382F-7DBB-29C09AF7AE1B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993614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Прямоугольник: скругленные углы 48">
              <a:extLst>
                <a:ext uri="{FF2B5EF4-FFF2-40B4-BE49-F238E27FC236}">
                  <a16:creationId xmlns:a16="http://schemas.microsoft.com/office/drawing/2014/main" id="{5FE503CD-B1B5-1547-AFB0-C04820859122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Прямоугольник: скругленные углы 56">
              <a:extLst>
                <a:ext uri="{FF2B5EF4-FFF2-40B4-BE49-F238E27FC236}">
                  <a16:creationId xmlns:a16="http://schemas.microsoft.com/office/drawing/2014/main" id="{9ED3D159-6E3E-E74B-B704-06E7EF66176B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0253803-6842-474F-8345-1128330D5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201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03260718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2" name="Нижний колонтитул 4">
            <a:extLst>
              <a:ext uri="{FF2B5EF4-FFF2-40B4-BE49-F238E27FC236}">
                <a16:creationId xmlns:a16="http://schemas.microsoft.com/office/drawing/2014/main" id="{0606E0FB-6379-DF40-BFFA-E43FBE816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ACADBB40-3E4B-BA47-9B0D-41DC98B980C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38">
              <a:extLst>
                <a:ext uri="{FF2B5EF4-FFF2-40B4-BE49-F238E27FC236}">
                  <a16:creationId xmlns:a16="http://schemas.microsoft.com/office/drawing/2014/main" id="{8BC913CB-3DD4-6A44-AFB9-84356EBADC1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959C18BF-1BE5-B543-B223-77C360ED66C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441BCCA-D30C-A945-86F3-9E84282D3446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41">
              <a:extLst>
                <a:ext uri="{FF2B5EF4-FFF2-40B4-BE49-F238E27FC236}">
                  <a16:creationId xmlns:a16="http://schemas.microsoft.com/office/drawing/2014/main" id="{A5F56424-48C0-5B42-BA81-1D94ADB9088F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42">
              <a:extLst>
                <a:ext uri="{FF2B5EF4-FFF2-40B4-BE49-F238E27FC236}">
                  <a16:creationId xmlns:a16="http://schemas.microsoft.com/office/drawing/2014/main" id="{70F71935-B459-1946-9685-15173A969D4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43">
              <a:extLst>
                <a:ext uri="{FF2B5EF4-FFF2-40B4-BE49-F238E27FC236}">
                  <a16:creationId xmlns:a16="http://schemas.microsoft.com/office/drawing/2014/main" id="{C5493070-C997-C047-80CE-050317916ABA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44">
              <a:extLst>
                <a:ext uri="{FF2B5EF4-FFF2-40B4-BE49-F238E27FC236}">
                  <a16:creationId xmlns:a16="http://schemas.microsoft.com/office/drawing/2014/main" id="{C43704EF-B1FF-3D4A-813F-5FBBE4E46F92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E593829-69B5-2D4F-A75A-7EE68F1B6D9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47">
              <a:extLst>
                <a:ext uri="{FF2B5EF4-FFF2-40B4-BE49-F238E27FC236}">
                  <a16:creationId xmlns:a16="http://schemas.microsoft.com/office/drawing/2014/main" id="{5A13E7D2-9C0E-0146-9C13-DFE574B08A4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48">
              <a:extLst>
                <a:ext uri="{FF2B5EF4-FFF2-40B4-BE49-F238E27FC236}">
                  <a16:creationId xmlns:a16="http://schemas.microsoft.com/office/drawing/2014/main" id="{2605BB73-98F0-4E4F-BA15-B73E1C7A4F15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6D455FB-98B4-1943-9E57-DC98726499D0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51">
              <a:extLst>
                <a:ext uri="{FF2B5EF4-FFF2-40B4-BE49-F238E27FC236}">
                  <a16:creationId xmlns:a16="http://schemas.microsoft.com/office/drawing/2014/main" id="{E8B82740-32DB-6B42-AAC7-B0E2AAFF5F3D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2">
              <a:extLst>
                <a:ext uri="{FF2B5EF4-FFF2-40B4-BE49-F238E27FC236}">
                  <a16:creationId xmlns:a16="http://schemas.microsoft.com/office/drawing/2014/main" id="{EA00E76B-5416-404F-8C59-4CC70D0DC2F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53">
              <a:extLst>
                <a:ext uri="{FF2B5EF4-FFF2-40B4-BE49-F238E27FC236}">
                  <a16:creationId xmlns:a16="http://schemas.microsoft.com/office/drawing/2014/main" id="{0E253E06-7EF5-134D-9807-EBFB775B3E5D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54">
              <a:extLst>
                <a:ext uri="{FF2B5EF4-FFF2-40B4-BE49-F238E27FC236}">
                  <a16:creationId xmlns:a16="http://schemas.microsoft.com/office/drawing/2014/main" id="{36B61546-BF20-4F4D-8E37-3811D6FDF67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D064FF-E925-AE4A-BEAA-1761FDD715A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56">
              <a:extLst>
                <a:ext uri="{FF2B5EF4-FFF2-40B4-BE49-F238E27FC236}">
                  <a16:creationId xmlns:a16="http://schemas.microsoft.com/office/drawing/2014/main" id="{E0A73B6F-0CBC-6842-A110-CBFCE8627015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57">
              <a:extLst>
                <a:ext uri="{FF2B5EF4-FFF2-40B4-BE49-F238E27FC236}">
                  <a16:creationId xmlns:a16="http://schemas.microsoft.com/office/drawing/2014/main" id="{8D238242-34B2-B64B-81AD-1EBEBF99A4BA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F74BAEA-2AEF-7C41-94C9-169D29CA399D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C290659D-DA99-334D-BD57-993A461E8927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0C66573-3B37-4845-90F6-8CD386C60B6D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63">
              <a:extLst>
                <a:ext uri="{FF2B5EF4-FFF2-40B4-BE49-F238E27FC236}">
                  <a16:creationId xmlns:a16="http://schemas.microsoft.com/office/drawing/2014/main" id="{06B304CA-7385-5E48-BC6F-F8A2B2EECC7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64">
              <a:extLst>
                <a:ext uri="{FF2B5EF4-FFF2-40B4-BE49-F238E27FC236}">
                  <a16:creationId xmlns:a16="http://schemas.microsoft.com/office/drawing/2014/main" id="{BE79CDF9-7231-A742-89E9-AAEBBEFE7456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65">
              <a:extLst>
                <a:ext uri="{FF2B5EF4-FFF2-40B4-BE49-F238E27FC236}">
                  <a16:creationId xmlns:a16="http://schemas.microsoft.com/office/drawing/2014/main" id="{148714E1-E061-5F45-84D2-86B3E090DF5E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: скругленные углы 13">
              <a:extLst>
                <a:ext uri="{FF2B5EF4-FFF2-40B4-BE49-F238E27FC236}">
                  <a16:creationId xmlns:a16="http://schemas.microsoft.com/office/drawing/2014/main" id="{9FD99921-05BF-0B43-AD43-D32FE1EFC486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15">
              <a:extLst>
                <a:ext uri="{FF2B5EF4-FFF2-40B4-BE49-F238E27FC236}">
                  <a16:creationId xmlns:a16="http://schemas.microsoft.com/office/drawing/2014/main" id="{C9FD0A14-14F7-2848-A940-C7DB4D7395C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48">
              <a:extLst>
                <a:ext uri="{FF2B5EF4-FFF2-40B4-BE49-F238E27FC236}">
                  <a16:creationId xmlns:a16="http://schemas.microsoft.com/office/drawing/2014/main" id="{10D382DA-8A1C-FD4B-9E8E-7507A62EA83E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56">
              <a:extLst>
                <a:ext uri="{FF2B5EF4-FFF2-40B4-BE49-F238E27FC236}">
                  <a16:creationId xmlns:a16="http://schemas.microsoft.com/office/drawing/2014/main" id="{061FB20C-E3FF-6947-9EBD-3D54E77ADDB0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09ED99E-52AF-4EF8-B4B8-BC13E3490F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0F9E2296-4D36-2B24-AFB3-DEB0C6DBAEE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FDBF0ACD-C4F6-CDE4-3EFC-88654A3234A5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82119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89582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" name="Нижний колонтитул 4">
            <a:extLst>
              <a:ext uri="{FF2B5EF4-FFF2-40B4-BE49-F238E27FC236}">
                <a16:creationId xmlns:a16="http://schemas.microsoft.com/office/drawing/2014/main" id="{0FBE122B-6F03-F449-8A51-EF2384093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CD40B8D3-24E8-264C-85C0-FC1434D6EDE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3" name="Прямоугольник: скругленные углы 38">
              <a:extLst>
                <a:ext uri="{FF2B5EF4-FFF2-40B4-BE49-F238E27FC236}">
                  <a16:creationId xmlns:a16="http://schemas.microsoft.com/office/drawing/2014/main" id="{87DFEA87-531E-F74C-92A0-F41FB656855E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08C3FFE-FABF-CE44-AE09-62ED5723B84D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1636D6C-9228-D347-AA6A-62840DC50B9C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56" name="Прямоугольник: скругленные углы 41">
              <a:extLst>
                <a:ext uri="{FF2B5EF4-FFF2-40B4-BE49-F238E27FC236}">
                  <a16:creationId xmlns:a16="http://schemas.microsoft.com/office/drawing/2014/main" id="{5CE50745-3ABA-6344-8769-F4008559C2FA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42">
              <a:extLst>
                <a:ext uri="{FF2B5EF4-FFF2-40B4-BE49-F238E27FC236}">
                  <a16:creationId xmlns:a16="http://schemas.microsoft.com/office/drawing/2014/main" id="{E38D4DD0-09F8-8D4A-8C84-D6E6FB5E50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43">
              <a:extLst>
                <a:ext uri="{FF2B5EF4-FFF2-40B4-BE49-F238E27FC236}">
                  <a16:creationId xmlns:a16="http://schemas.microsoft.com/office/drawing/2014/main" id="{91871802-B610-DB41-81CF-7E4B726A9B1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44">
              <a:extLst>
                <a:ext uri="{FF2B5EF4-FFF2-40B4-BE49-F238E27FC236}">
                  <a16:creationId xmlns:a16="http://schemas.microsoft.com/office/drawing/2014/main" id="{62D19D4D-290B-F246-97F2-DF4B8D54DEA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B54DE0B-9074-6B49-9670-B0DBF76553D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61" name="Прямоугольник: скругленные углы 47">
              <a:extLst>
                <a:ext uri="{FF2B5EF4-FFF2-40B4-BE49-F238E27FC236}">
                  <a16:creationId xmlns:a16="http://schemas.microsoft.com/office/drawing/2014/main" id="{BF38892E-42CC-5C42-B912-AB75FEA670B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14BA909E-BAC9-614A-AE11-8576ABEF5F9D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EEE-6D18-BF43-B170-E22BFBC059D5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64" name="Прямоугольник: скругленные углы 51">
              <a:extLst>
                <a:ext uri="{FF2B5EF4-FFF2-40B4-BE49-F238E27FC236}">
                  <a16:creationId xmlns:a16="http://schemas.microsoft.com/office/drawing/2014/main" id="{BA2BF39B-30D4-1243-9DA0-BCFA88B73294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52">
              <a:extLst>
                <a:ext uri="{FF2B5EF4-FFF2-40B4-BE49-F238E27FC236}">
                  <a16:creationId xmlns:a16="http://schemas.microsoft.com/office/drawing/2014/main" id="{DFD03D11-B20F-0748-8D11-A010007E896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53">
              <a:extLst>
                <a:ext uri="{FF2B5EF4-FFF2-40B4-BE49-F238E27FC236}">
                  <a16:creationId xmlns:a16="http://schemas.microsoft.com/office/drawing/2014/main" id="{191FA80E-7E6F-524F-87F2-B5F9B5BE989E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Прямоугольник: скругленные углы 54">
              <a:extLst>
                <a:ext uri="{FF2B5EF4-FFF2-40B4-BE49-F238E27FC236}">
                  <a16:creationId xmlns:a16="http://schemas.microsoft.com/office/drawing/2014/main" id="{81823188-BE99-B54D-8E8B-15DD74D248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F9B11DC-0D71-2046-8453-441AAF65778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9" name="Прямоугольник: скругленные углы 56">
              <a:extLst>
                <a:ext uri="{FF2B5EF4-FFF2-40B4-BE49-F238E27FC236}">
                  <a16:creationId xmlns:a16="http://schemas.microsoft.com/office/drawing/2014/main" id="{1D1FB393-22CD-6344-85CF-45954E78F599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57">
              <a:extLst>
                <a:ext uri="{FF2B5EF4-FFF2-40B4-BE49-F238E27FC236}">
                  <a16:creationId xmlns:a16="http://schemas.microsoft.com/office/drawing/2014/main" id="{54E3B481-6EB1-B943-86CF-51D34ADE0FB3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04E244-CF38-B64E-AA60-219EC1A1A7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72" name="Рисунок 93">
              <a:extLst>
                <a:ext uri="{FF2B5EF4-FFF2-40B4-BE49-F238E27FC236}">
                  <a16:creationId xmlns:a16="http://schemas.microsoft.com/office/drawing/2014/main" id="{35147528-19B0-E946-8A66-6FFB22C5F59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85766C7-FAC3-F74D-8B14-A598B57ABFC3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74" name="Прямоугольник: скругленные углы 63">
              <a:extLst>
                <a:ext uri="{FF2B5EF4-FFF2-40B4-BE49-F238E27FC236}">
                  <a16:creationId xmlns:a16="http://schemas.microsoft.com/office/drawing/2014/main" id="{39DAF63A-0D95-7E4C-B25A-02F26405A485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64">
              <a:extLst>
                <a:ext uri="{FF2B5EF4-FFF2-40B4-BE49-F238E27FC236}">
                  <a16:creationId xmlns:a16="http://schemas.microsoft.com/office/drawing/2014/main" id="{F410DCAF-B1CC-D542-B1C9-32D6C9CDB88B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65">
              <a:extLst>
                <a:ext uri="{FF2B5EF4-FFF2-40B4-BE49-F238E27FC236}">
                  <a16:creationId xmlns:a16="http://schemas.microsoft.com/office/drawing/2014/main" id="{DB061076-650D-9B43-B391-0286E34B39D6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13">
              <a:extLst>
                <a:ext uri="{FF2B5EF4-FFF2-40B4-BE49-F238E27FC236}">
                  <a16:creationId xmlns:a16="http://schemas.microsoft.com/office/drawing/2014/main" id="{A946D9E3-8CF1-6241-AF90-F423F54564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15">
              <a:extLst>
                <a:ext uri="{FF2B5EF4-FFF2-40B4-BE49-F238E27FC236}">
                  <a16:creationId xmlns:a16="http://schemas.microsoft.com/office/drawing/2014/main" id="{E8268C33-E090-A14C-9C07-B468D91008F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48">
              <a:extLst>
                <a:ext uri="{FF2B5EF4-FFF2-40B4-BE49-F238E27FC236}">
                  <a16:creationId xmlns:a16="http://schemas.microsoft.com/office/drawing/2014/main" id="{62F65EA2-20EE-6B4D-865D-15F5B087A62F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AF66D908-4146-8D46-A58F-D40A77607E33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6240D0B-2E31-9302-6B58-3B7412E116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BD21EFF2-72C3-0638-ECC9-89544A8A78E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9DE992BE-FEB7-1686-D574-50BC69748A79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2960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8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774323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7881004-6958-374E-B9BD-B9941EFFBC7A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4" name="Прямоугольник: скругленные углы 38">
              <a:extLst>
                <a:ext uri="{FF2B5EF4-FFF2-40B4-BE49-F238E27FC236}">
                  <a16:creationId xmlns:a16="http://schemas.microsoft.com/office/drawing/2014/main" id="{C5C10136-6174-8341-AAF3-60EFFEA4FFE6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27C25C2-CA2A-514D-8675-BCFC636D7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3C7BE1-B48C-B54D-A49A-6CC758A9588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7" name="Прямоугольник: скругленные углы 41">
              <a:extLst>
                <a:ext uri="{FF2B5EF4-FFF2-40B4-BE49-F238E27FC236}">
                  <a16:creationId xmlns:a16="http://schemas.microsoft.com/office/drawing/2014/main" id="{6D777616-0635-8D48-8F87-EB0FFABD731D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42">
              <a:extLst>
                <a:ext uri="{FF2B5EF4-FFF2-40B4-BE49-F238E27FC236}">
                  <a16:creationId xmlns:a16="http://schemas.microsoft.com/office/drawing/2014/main" id="{B081A747-C408-374F-A23D-544F0CB540E1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43">
              <a:extLst>
                <a:ext uri="{FF2B5EF4-FFF2-40B4-BE49-F238E27FC236}">
                  <a16:creationId xmlns:a16="http://schemas.microsoft.com/office/drawing/2014/main" id="{ACAF3CF7-4B4E-0949-9FAC-DC97F7FE505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44">
              <a:extLst>
                <a:ext uri="{FF2B5EF4-FFF2-40B4-BE49-F238E27FC236}">
                  <a16:creationId xmlns:a16="http://schemas.microsoft.com/office/drawing/2014/main" id="{6771845E-8FF3-E247-8ACD-00401A9C8AF9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EC6C0B4-F87B-664A-AB1C-0C26BB7F5A2A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2" name="Прямоугольник: скругленные углы 47">
              <a:extLst>
                <a:ext uri="{FF2B5EF4-FFF2-40B4-BE49-F238E27FC236}">
                  <a16:creationId xmlns:a16="http://schemas.microsoft.com/office/drawing/2014/main" id="{9EE72B71-8D38-E64F-9D3F-10D9AF61743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8">
              <a:extLst>
                <a:ext uri="{FF2B5EF4-FFF2-40B4-BE49-F238E27FC236}">
                  <a16:creationId xmlns:a16="http://schemas.microsoft.com/office/drawing/2014/main" id="{FC5A15B5-758D-F24A-AA68-DDBFDC638A52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022A657-06DF-644D-9BAC-EE4E5AE0BC96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5" name="Прямоугольник: скругленные углы 51">
              <a:extLst>
                <a:ext uri="{FF2B5EF4-FFF2-40B4-BE49-F238E27FC236}">
                  <a16:creationId xmlns:a16="http://schemas.microsoft.com/office/drawing/2014/main" id="{B8463760-2E95-7F41-8D69-78ADCD51424A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52">
              <a:extLst>
                <a:ext uri="{FF2B5EF4-FFF2-40B4-BE49-F238E27FC236}">
                  <a16:creationId xmlns:a16="http://schemas.microsoft.com/office/drawing/2014/main" id="{F4E43358-7C59-7742-9006-77BCB78AAC9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53">
              <a:extLst>
                <a:ext uri="{FF2B5EF4-FFF2-40B4-BE49-F238E27FC236}">
                  <a16:creationId xmlns:a16="http://schemas.microsoft.com/office/drawing/2014/main" id="{8D74125F-3DAF-1243-B5DB-C50B7F067B7A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54">
              <a:extLst>
                <a:ext uri="{FF2B5EF4-FFF2-40B4-BE49-F238E27FC236}">
                  <a16:creationId xmlns:a16="http://schemas.microsoft.com/office/drawing/2014/main" id="{44432125-3D9D-D442-B24A-85728B35FD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100AD9B-3799-5A44-84B2-58F0A8CEA72F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0" name="Прямоугольник: скругленные углы 56">
              <a:extLst>
                <a:ext uri="{FF2B5EF4-FFF2-40B4-BE49-F238E27FC236}">
                  <a16:creationId xmlns:a16="http://schemas.microsoft.com/office/drawing/2014/main" id="{0F884F14-3960-B242-888C-339C387823E8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7">
              <a:extLst>
                <a:ext uri="{FF2B5EF4-FFF2-40B4-BE49-F238E27FC236}">
                  <a16:creationId xmlns:a16="http://schemas.microsoft.com/office/drawing/2014/main" id="{8C21DCD3-8FE4-8048-ABE4-97E1E06BFDF6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253F1C-5597-744D-8CEA-5D6DD3C45E0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3" name="Рисунок 93">
              <a:extLst>
                <a:ext uri="{FF2B5EF4-FFF2-40B4-BE49-F238E27FC236}">
                  <a16:creationId xmlns:a16="http://schemas.microsoft.com/office/drawing/2014/main" id="{85953602-8DD0-414C-B7C0-3147B106D0D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8D23689-A10C-C84C-A3F6-4C90E67083F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55" name="Прямоугольник: скругленные углы 63">
              <a:extLst>
                <a:ext uri="{FF2B5EF4-FFF2-40B4-BE49-F238E27FC236}">
                  <a16:creationId xmlns:a16="http://schemas.microsoft.com/office/drawing/2014/main" id="{A10FA71E-C641-A547-A901-7E3DEBBC73B6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64">
              <a:extLst>
                <a:ext uri="{FF2B5EF4-FFF2-40B4-BE49-F238E27FC236}">
                  <a16:creationId xmlns:a16="http://schemas.microsoft.com/office/drawing/2014/main" id="{CB3BDB71-8A17-634F-886A-D0C8E06D7541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65">
              <a:extLst>
                <a:ext uri="{FF2B5EF4-FFF2-40B4-BE49-F238E27FC236}">
                  <a16:creationId xmlns:a16="http://schemas.microsoft.com/office/drawing/2014/main" id="{A52014EE-AD24-8047-A7C5-8505CD5406A5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13">
              <a:extLst>
                <a:ext uri="{FF2B5EF4-FFF2-40B4-BE49-F238E27FC236}">
                  <a16:creationId xmlns:a16="http://schemas.microsoft.com/office/drawing/2014/main" id="{A0DC93E9-C88B-3241-AB74-A84EDF436A3B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15">
              <a:extLst>
                <a:ext uri="{FF2B5EF4-FFF2-40B4-BE49-F238E27FC236}">
                  <a16:creationId xmlns:a16="http://schemas.microsoft.com/office/drawing/2014/main" id="{EB693D4B-DD7E-F542-804C-BF3AA740DA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9725E235-973A-2E46-917C-D9D5131CC91A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56">
              <a:extLst>
                <a:ext uri="{FF2B5EF4-FFF2-40B4-BE49-F238E27FC236}">
                  <a16:creationId xmlns:a16="http://schemas.microsoft.com/office/drawing/2014/main" id="{BBC3A543-8AE3-0047-93A5-060D23112712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61968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BC908F3-2C71-3587-E192-B523B037EC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54AF277A-3642-82A7-A095-454A4DF9E26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19B40B49-AB0A-4209-5890-243E9D6ECAA0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287966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5" name="Прямоугольник: скругленные углы 48">
              <a:extLst>
                <a:ext uri="{FF2B5EF4-FFF2-40B4-BE49-F238E27FC236}">
                  <a16:creationId xmlns:a16="http://schemas.microsoft.com/office/drawing/2014/main" id="{EB6594F7-A0D8-4F43-B230-20852203C3E3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F4D90A4-5598-394F-84A2-9557098B6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04A9133-D2FA-FF49-BA0E-2BDDFFCCE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149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5DC7CDE-D39A-A843-A825-0CA3AC516B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sp>
        <p:nvSpPr>
          <p:cNvPr id="48" name="Нижний колонтитул 4">
            <a:extLst>
              <a:ext uri="{FF2B5EF4-FFF2-40B4-BE49-F238E27FC236}">
                <a16:creationId xmlns:a16="http://schemas.microsoft.com/office/drawing/2014/main" id="{6C2D7C7E-8FA5-FD4A-BA0C-5BDD33B5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48F2E3E-6112-2C4C-8D1D-2D8CF74E7D9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0FEF8000-4C08-614A-9F86-BE0DD9109AE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622BFE9-AC85-8E4C-BEE2-2DD1DFB9D18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2C6DBC3-5381-A74B-8F11-DE335DDBBDB0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AACE419B-BE59-4F43-981D-9DEFE65B0958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D357E59A-4A88-184D-A40B-046F72FE9E74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983242-104D-8C42-A7FB-3001920446F7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B9D2BE53-46DE-6B4A-8097-E2AC77284DD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4B67CA3-C9D7-D546-A4B0-4CCF85BD625D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FB1AAE82-4E11-C148-B7CF-35879FB6ABCD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E1AA3362-7DD3-8F47-9E89-D9C8BCE7074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0626B1CE-E5AE-DE4C-A31E-7BF828AECEDA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BA97619-4997-DA47-9A36-26A2C52FD7C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43B6C6BE-5E18-0D4A-8BA2-EC9DD2CE2E3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ADFA8A15-FA8C-E141-9462-4F8AF478ADBB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C467CE4A-4EA1-FA4E-A1D9-F6296092BD3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1AEEB0A2-0198-2D49-A658-6982704DD4A5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CE588C9-3546-B347-A4F8-CB4CBA85FC9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A74B1CAD-8989-D348-8465-FD0FBBCB07D6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18B9B9F-6BB2-0B4E-8DF9-8FDFFA3067F3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0F58099B-23C9-934D-BC79-ABBA253B3C9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5C9A2D73-0741-D34D-AF49-40482534040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22B8CD6-DAE6-A240-955C-CF87126D23D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19850F91-A4C3-9D47-BB90-CD021C348092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DBD2A3-0EF3-FA43-9D30-8827A57A2345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CD27F48E-7A94-3D42-B1AF-3719469C57B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962AB29A-8572-4A48-A284-5AF381D7E09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BDA067E-F313-334C-AEE3-BCFADD5879DB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E8E225C0-12BD-E141-966E-1E51223BFEF6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675971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7C646F59-D044-7D48-9BC3-41161001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1606FB3-EAE8-C340-A573-F7D0830BC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BE3AE89F-F7D2-C24B-8D53-47F4EDA71137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4257A3B2-653D-6A42-88F3-40F94BEB74F7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2DD0E750-5A81-5148-A122-DA8B993B4B36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F082253-DD74-384E-B741-50C9CCCD68A6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86C5C00D-FAE2-B84D-BEC2-20471F019D1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A7D2A123-904D-4D4E-B29F-2F4E37E9A21F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BDB792B-A1F4-FF4F-9980-667849588703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3D169822-92BD-554A-8B63-3899F9638B6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86F239C-1BC3-8844-A33B-2456CED6C5E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459A6E71-3826-9647-9553-B6920FBC8438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93A5957A-BE91-8749-A437-CFFAE3C333C1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867EB637-2AF1-7945-AA94-6473997CD7E8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93B3DAD-57D1-BF4C-A33E-EA5180B7D7D6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321A7AFF-70D2-594B-91F6-08D74F6DC47F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B2C22744-12B2-1944-A4FF-9A6D719826DE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B238B270-9CB6-4F44-9A08-1EB6BE9731ED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C2E07BB3-BD75-2A4B-8AD3-E4EBA018F96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340FA73-EFE0-7347-B844-E62AF189709E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35D7E50E-0B9E-164C-834F-88BC113D34FA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C3A8A21-9B73-F24F-9D85-C8297CC039D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568B5506-CB45-3644-9AC6-65068B50C5CD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704507D1-6554-3445-A893-C3E99FF77EB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69BFD11-DA86-5845-8F9D-7108626C4F5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3E4EDD5-2D06-8441-BA59-C8B7EAD926AB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0AFF32F-F5B7-EE42-A83B-8ECFA5DBBDB3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78AFFE3A-93F9-BD49-B40C-12E9F0FB5826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0959F5F7-C932-4944-A9D9-004C4AAAF6B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16CF2AD-724B-F44C-AE2A-443441C35A2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48AAFC6C-AA70-CD4F-926F-CCD16ED7FBA4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29001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92C43A9F-0476-8E46-8873-DC85E19B0D4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7" name="Прямоугольник: скругленные углы 38">
              <a:extLst>
                <a:ext uri="{FF2B5EF4-FFF2-40B4-BE49-F238E27FC236}">
                  <a16:creationId xmlns:a16="http://schemas.microsoft.com/office/drawing/2014/main" id="{3592B896-2FA0-3D4A-8351-344EB42B4C0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75FBE025-BB73-DD4B-A8D5-C4C46ED5C679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56D7DD3-FFBE-7242-B7D2-176534F54E4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3" name="Прямоугольник: скругленные углы 41">
              <a:extLst>
                <a:ext uri="{FF2B5EF4-FFF2-40B4-BE49-F238E27FC236}">
                  <a16:creationId xmlns:a16="http://schemas.microsoft.com/office/drawing/2014/main" id="{B31AC03A-0175-D74C-8AE2-353A4ED6861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Прямоугольник: скругленные углы 42">
              <a:extLst>
                <a:ext uri="{FF2B5EF4-FFF2-40B4-BE49-F238E27FC236}">
                  <a16:creationId xmlns:a16="http://schemas.microsoft.com/office/drawing/2014/main" id="{6F6124BF-174C-8944-B99C-0F4062465355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D11BDA7-C5D8-C64B-AE1C-E8F8A1C9D14D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0" name="Прямоугольник: скругленные углы 48">
              <a:extLst>
                <a:ext uri="{FF2B5EF4-FFF2-40B4-BE49-F238E27FC236}">
                  <a16:creationId xmlns:a16="http://schemas.microsoft.com/office/drawing/2014/main" id="{EF53E3A6-DFEC-C641-B0E2-A00E918B27C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9C4BC9-A3AD-844A-96E6-79232F1CFBD8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2" name="Прямоугольник: скругленные углы 52">
              <a:extLst>
                <a:ext uri="{FF2B5EF4-FFF2-40B4-BE49-F238E27FC236}">
                  <a16:creationId xmlns:a16="http://schemas.microsoft.com/office/drawing/2014/main" id="{9EB91932-7AD2-6D48-8292-684A0FE4E8E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53">
              <a:extLst>
                <a:ext uri="{FF2B5EF4-FFF2-40B4-BE49-F238E27FC236}">
                  <a16:creationId xmlns:a16="http://schemas.microsoft.com/office/drawing/2014/main" id="{F1123F95-61C9-BC41-851F-37A4F337A42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54">
              <a:extLst>
                <a:ext uri="{FF2B5EF4-FFF2-40B4-BE49-F238E27FC236}">
                  <a16:creationId xmlns:a16="http://schemas.microsoft.com/office/drawing/2014/main" id="{58C05D7D-2813-064B-92D0-74BFD5806436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7645BC9-A0BF-4D49-BE00-7DFC805081F8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6" name="Прямоугольник: скругленные углы 43">
              <a:extLst>
                <a:ext uri="{FF2B5EF4-FFF2-40B4-BE49-F238E27FC236}">
                  <a16:creationId xmlns:a16="http://schemas.microsoft.com/office/drawing/2014/main" id="{00C7E176-7354-C741-BDD2-0669745F93C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51">
              <a:extLst>
                <a:ext uri="{FF2B5EF4-FFF2-40B4-BE49-F238E27FC236}">
                  <a16:creationId xmlns:a16="http://schemas.microsoft.com/office/drawing/2014/main" id="{57909756-FFD4-3145-97F5-9BB79E50B758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56">
              <a:extLst>
                <a:ext uri="{FF2B5EF4-FFF2-40B4-BE49-F238E27FC236}">
                  <a16:creationId xmlns:a16="http://schemas.microsoft.com/office/drawing/2014/main" id="{832B66E4-B192-A743-9E98-874C0FA10087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7">
              <a:extLst>
                <a:ext uri="{FF2B5EF4-FFF2-40B4-BE49-F238E27FC236}">
                  <a16:creationId xmlns:a16="http://schemas.microsoft.com/office/drawing/2014/main" id="{969AA322-3BB8-2846-B111-4DF55CA946C4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DD47492-6CB9-E24B-8BA9-E4B19588120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1" name="Рисунок 93">
              <a:extLst>
                <a:ext uri="{FF2B5EF4-FFF2-40B4-BE49-F238E27FC236}">
                  <a16:creationId xmlns:a16="http://schemas.microsoft.com/office/drawing/2014/main" id="{5FE6F21E-47B9-FB43-BE0E-68513CDA9ED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1EFEE38-AFEB-7548-87F9-5EF298944F1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3" name="Прямоугольник: скругленные углы 63">
              <a:extLst>
                <a:ext uri="{FF2B5EF4-FFF2-40B4-BE49-F238E27FC236}">
                  <a16:creationId xmlns:a16="http://schemas.microsoft.com/office/drawing/2014/main" id="{B096428A-BA57-714F-AE88-83D0A1C5C8C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64">
              <a:extLst>
                <a:ext uri="{FF2B5EF4-FFF2-40B4-BE49-F238E27FC236}">
                  <a16:creationId xmlns:a16="http://schemas.microsoft.com/office/drawing/2014/main" id="{D8358B04-5791-8242-8695-3D6689CC1F4B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65">
              <a:extLst>
                <a:ext uri="{FF2B5EF4-FFF2-40B4-BE49-F238E27FC236}">
                  <a16:creationId xmlns:a16="http://schemas.microsoft.com/office/drawing/2014/main" id="{A9198495-B106-B445-BBF9-AAA4D713653A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B476DC2-4E90-224A-B664-9896A68CC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9C50795-E14E-5549-85AC-9F99FA10E81B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8" name="Прямоугольник: скругленные углы 15">
              <a:extLst>
                <a:ext uri="{FF2B5EF4-FFF2-40B4-BE49-F238E27FC236}">
                  <a16:creationId xmlns:a16="http://schemas.microsoft.com/office/drawing/2014/main" id="{241AB51B-A791-DE4F-B0C0-F7C6B1020A0C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: скругленные углы 16">
              <a:extLst>
                <a:ext uri="{FF2B5EF4-FFF2-40B4-BE49-F238E27FC236}">
                  <a16:creationId xmlns:a16="http://schemas.microsoft.com/office/drawing/2014/main" id="{77BEC62D-D479-B345-8CEF-1A31FEF8388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024F6F0-6699-9F47-8ED3-42B0BCFD5EB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1" name="Прямоугольник: скругленные углы 48">
              <a:extLst>
                <a:ext uri="{FF2B5EF4-FFF2-40B4-BE49-F238E27FC236}">
                  <a16:creationId xmlns:a16="http://schemas.microsoft.com/office/drawing/2014/main" id="{DFD2B243-C457-3449-AEBD-AAB7B16D77BC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899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оили универсальные шрифты.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1614616" y="530912"/>
            <a:ext cx="2722578" cy="8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 dirty="0">
                <a:solidFill>
                  <a:schemeClr val="bg1"/>
                </a:solidFill>
              </a:rPr>
              <a:t>Ты вовремя!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Сейчас расскажу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про шаблон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            </a:t>
            </a:r>
            <a:r>
              <a:rPr lang="en-US" sz="1200" b="1" dirty="0">
                <a:solidFill>
                  <a:schemeClr val="bg1"/>
                </a:solidFill>
              </a:rPr>
              <a:t>      </a:t>
            </a:r>
            <a:r>
              <a:rPr lang="ru-RU" sz="1200" b="1" dirty="0">
                <a:solidFill>
                  <a:schemeClr val="bg1"/>
                </a:solidFill>
              </a:rPr>
              <a:t>   презентаций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                  </a:t>
            </a:r>
            <a:r>
              <a:rPr lang="ru-RU" sz="1200" b="1" dirty="0">
                <a:solidFill>
                  <a:schemeClr val="bg1"/>
                </a:solidFill>
              </a:rPr>
              <a:t>   </a:t>
            </a:r>
            <a:r>
              <a:rPr lang="ru-RU" sz="1200" b="1" dirty="0" err="1">
                <a:solidFill>
                  <a:schemeClr val="bg1"/>
                </a:solidFill>
              </a:rPr>
              <a:t>Ozon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bg1"/>
                </a:solidFill>
              </a:rPr>
              <a:t>Tech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tx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 dirty="0"/>
              <a:t>Настроили специальный стиль для работы </a:t>
            </a:r>
            <a:br>
              <a:rPr lang="ru-RU" sz="1200" spc="-30" dirty="0"/>
            </a:br>
            <a:r>
              <a:rPr lang="ru-RU" sz="1200" spc="-30" dirty="0"/>
              <a:t>с таблицами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аивай вид таблицы в несколько кликов в разделе «Конструктор таблиц».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77" name="Рисунок 76" descr="Изображение выглядит как графическая вставка, Графика, графический дизайн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276BF3AB-DC00-0546-93DF-2A740B4A66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45" y="647902"/>
            <a:ext cx="1659941" cy="803412"/>
          </a:xfrm>
          <a:prstGeom prst="rect">
            <a:avLst/>
          </a:prstGeom>
        </p:spPr>
      </p:pic>
      <p:pic>
        <p:nvPicPr>
          <p:cNvPr id="79" name="Рисунок 78" descr="Изображение выглядит как графическая вставка, мультфильм, Детское искусство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FADF100C-4902-314A-A475-3D020BAD1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59" y="4333974"/>
            <a:ext cx="531911" cy="53191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E914D65-6B19-2C49-A6F3-DBF88ABA0691}"/>
              </a:ext>
            </a:extLst>
          </p:cNvPr>
          <p:cNvGrpSpPr/>
          <p:nvPr/>
        </p:nvGrpSpPr>
        <p:grpSpPr>
          <a:xfrm>
            <a:off x="4712045" y="585020"/>
            <a:ext cx="3679822" cy="5212740"/>
            <a:chOff x="4746894" y="587649"/>
            <a:chExt cx="3679822" cy="5212740"/>
          </a:xfrm>
        </p:grpSpPr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E3079F11-CA78-FB11-42F8-457DF2F7D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6894" y="1316353"/>
              <a:ext cx="1564527" cy="2330494"/>
            </a:xfrm>
            <a:prstGeom prst="rect">
              <a:avLst/>
            </a:prstGeom>
          </p:spPr>
        </p:pic>
        <p:pic>
          <p:nvPicPr>
            <p:cNvPr id="126" name="Рисунок 125">
              <a:extLst>
                <a:ext uri="{FF2B5EF4-FFF2-40B4-BE49-F238E27FC236}">
                  <a16:creationId xmlns:a16="http://schemas.microsoft.com/office/drawing/2014/main" id="{2E4DA317-AF6A-4C4C-B7DD-279BA9C46C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66203" y="1608873"/>
              <a:ext cx="1474279" cy="2023321"/>
            </a:xfrm>
            <a:prstGeom prst="rect">
              <a:avLst/>
            </a:prstGeom>
          </p:spPr>
        </p:pic>
        <p:sp>
          <p:nvSpPr>
            <p:cNvPr id="127" name="Прямоугольник: скругленные углы 69">
              <a:extLst>
                <a:ext uri="{FF2B5EF4-FFF2-40B4-BE49-F238E27FC236}">
                  <a16:creationId xmlns:a16="http://schemas.microsoft.com/office/drawing/2014/main" id="{8F97E0D8-5259-1442-9794-751FF43EAF97}"/>
                </a:ext>
              </a:extLst>
            </p:cNvPr>
            <p:cNvSpPr/>
            <p:nvPr/>
          </p:nvSpPr>
          <p:spPr>
            <a:xfrm>
              <a:off x="5622966" y="1867607"/>
              <a:ext cx="94330" cy="103698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B4CE404-E034-5EA4-6A2F-25540E37FFD6}"/>
                </a:ext>
              </a:extLst>
            </p:cNvPr>
            <p:cNvSpPr txBox="1"/>
            <p:nvPr/>
          </p:nvSpPr>
          <p:spPr>
            <a:xfrm>
              <a:off x="4754328" y="587649"/>
              <a:ext cx="2741705" cy="2532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b="1" dirty="0"/>
                <a:t>Настройся на цвет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148D88D-B440-B167-A76A-F041BC960E25}"/>
                </a:ext>
              </a:extLst>
            </p:cNvPr>
            <p:cNvSpPr txBox="1"/>
            <p:nvPr/>
          </p:nvSpPr>
          <p:spPr>
            <a:xfrm>
              <a:off x="4754328" y="927719"/>
              <a:ext cx="3339825" cy="39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dirty="0"/>
                <a:t>Подобрали цвета для разных задач </a:t>
              </a:r>
              <a:br>
                <a:rPr lang="ru-RU" sz="1200" dirty="0"/>
              </a:br>
              <a:r>
                <a:rPr lang="ru-RU" sz="1200" dirty="0"/>
                <a:t>и элементов и вшили их в шаблон.</a:t>
              </a:r>
            </a:p>
          </p:txBody>
        </p:sp>
        <p:sp>
          <p:nvSpPr>
            <p:cNvPr id="131" name="Прямоугольник: скругленные углы 49">
              <a:extLst>
                <a:ext uri="{FF2B5EF4-FFF2-40B4-BE49-F238E27FC236}">
                  <a16:creationId xmlns:a16="http://schemas.microsoft.com/office/drawing/2014/main" id="{0A0F66EF-CFCC-77BD-9275-23172110E19C}"/>
                </a:ext>
              </a:extLst>
            </p:cNvPr>
            <p:cNvSpPr/>
            <p:nvPr/>
          </p:nvSpPr>
          <p:spPr>
            <a:xfrm>
              <a:off x="4786313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32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492530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3" name="Прямоугольник: скругленные углы 51">
              <a:extLst>
                <a:ext uri="{FF2B5EF4-FFF2-40B4-BE49-F238E27FC236}">
                  <a16:creationId xmlns:a16="http://schemas.microsoft.com/office/drawing/2014/main" id="{28146186-D17F-C1E9-4155-AC99C46AE4B3}"/>
                </a:ext>
              </a:extLst>
            </p:cNvPr>
            <p:cNvSpPr/>
            <p:nvPr/>
          </p:nvSpPr>
          <p:spPr>
            <a:xfrm>
              <a:off x="5326083" y="1802649"/>
              <a:ext cx="427511" cy="2227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ru-RU" sz="800" b="1" dirty="0">
                  <a:solidFill>
                    <a:schemeClr val="tx1"/>
                  </a:solidFill>
                </a:rPr>
                <a:t>     4</a:t>
              </a:r>
            </a:p>
          </p:txBody>
        </p:sp>
        <p:sp>
          <p:nvSpPr>
            <p:cNvPr id="134" name="Прямоугольник: скругленные углы 52">
              <a:extLst>
                <a:ext uri="{FF2B5EF4-FFF2-40B4-BE49-F238E27FC236}">
                  <a16:creationId xmlns:a16="http://schemas.microsoft.com/office/drawing/2014/main" id="{452F4643-71DB-811F-5C4B-E1C7F21FA06A}"/>
                </a:ext>
              </a:extLst>
            </p:cNvPr>
            <p:cNvSpPr/>
            <p:nvPr/>
          </p:nvSpPr>
          <p:spPr>
            <a:xfrm>
              <a:off x="6031196" y="2052754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5" name="Прямоугольник: скругленные углы 53">
              <a:extLst>
                <a:ext uri="{FF2B5EF4-FFF2-40B4-BE49-F238E27FC236}">
                  <a16:creationId xmlns:a16="http://schemas.microsoft.com/office/drawing/2014/main" id="{691C8B0D-C366-E3A0-3A9D-B0805BF7D526}"/>
                </a:ext>
              </a:extLst>
            </p:cNvPr>
            <p:cNvSpPr/>
            <p:nvPr/>
          </p:nvSpPr>
          <p:spPr>
            <a:xfrm>
              <a:off x="4786312" y="2965276"/>
              <a:ext cx="417647" cy="129930"/>
            </a:xfrm>
            <a:prstGeom prst="roundRect">
              <a:avLst/>
            </a:prstGeom>
            <a:solidFill>
              <a:schemeClr val="bg1">
                <a:alpha val="4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29F5C26B-646A-5234-1901-00ECB2D410FD}"/>
                </a:ext>
              </a:extLst>
            </p:cNvPr>
            <p:cNvGrpSpPr/>
            <p:nvPr/>
          </p:nvGrpSpPr>
          <p:grpSpPr>
            <a:xfrm>
              <a:off x="4776934" y="3171767"/>
              <a:ext cx="1506353" cy="447322"/>
              <a:chOff x="4776934" y="3171767"/>
              <a:chExt cx="1506353" cy="447322"/>
            </a:xfrm>
          </p:grpSpPr>
          <p:cxnSp>
            <p:nvCxnSpPr>
              <p:cNvPr id="148" name="Прямая соединительная линия 147">
                <a:extLst>
                  <a:ext uri="{FF2B5EF4-FFF2-40B4-BE49-F238E27FC236}">
                    <a16:creationId xmlns:a16="http://schemas.microsoft.com/office/drawing/2014/main" id="{C2B165CD-4755-2151-C4E8-ED92D9BDF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единительная линия 148">
                <a:extLst>
                  <a:ext uri="{FF2B5EF4-FFF2-40B4-BE49-F238E27FC236}">
                    <a16:creationId xmlns:a16="http://schemas.microsoft.com/office/drawing/2014/main" id="{A67D9A16-BC97-2FB7-364C-E6EFF72F1E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7" name="Прямоугольник: скругленные углы 60">
              <a:extLst>
                <a:ext uri="{FF2B5EF4-FFF2-40B4-BE49-F238E27FC236}">
                  <a16:creationId xmlns:a16="http://schemas.microsoft.com/office/drawing/2014/main" id="{F9F2583D-7AC8-9EE4-273C-642B2D503E74}"/>
                </a:ext>
              </a:extLst>
            </p:cNvPr>
            <p:cNvSpPr/>
            <p:nvPr/>
          </p:nvSpPr>
          <p:spPr>
            <a:xfrm>
              <a:off x="5613973" y="1852201"/>
              <a:ext cx="128588" cy="1299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7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AE701400-5CBD-252E-038B-DBBC6163029F}"/>
                </a:ext>
              </a:extLst>
            </p:cNvPr>
            <p:cNvSpPr txBox="1"/>
            <p:nvPr/>
          </p:nvSpPr>
          <p:spPr>
            <a:xfrm>
              <a:off x="6446251" y="1591086"/>
              <a:ext cx="1980465" cy="2028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текста для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для тёмн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Основные акцентные цвета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для больших плашек в светлой теме.</a:t>
              </a:r>
            </a:p>
            <a:p>
              <a:pPr marL="228600" indent="-228600" algn="l">
                <a:spcAft>
                  <a:spcPts val="600"/>
                </a:spcAft>
                <a:buFont typeface="+mj-lt"/>
                <a:buAutoNum type="arabicPeriod" startAt="3"/>
              </a:pPr>
              <a:endParaRPr lang="ru-RU" sz="1200" dirty="0"/>
            </a:p>
          </p:txBody>
        </p:sp>
        <p:sp>
          <p:nvSpPr>
            <p:cNvPr id="139" name="Прямоугольник: скругленные углы 63">
              <a:extLst>
                <a:ext uri="{FF2B5EF4-FFF2-40B4-BE49-F238E27FC236}">
                  <a16:creationId xmlns:a16="http://schemas.microsoft.com/office/drawing/2014/main" id="{827AC2BC-2F1F-7171-8A32-84E433F38FB6}"/>
                </a:ext>
              </a:extLst>
            </p:cNvPr>
            <p:cNvSpPr/>
            <p:nvPr/>
          </p:nvSpPr>
          <p:spPr>
            <a:xfrm>
              <a:off x="5889228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40" name="Прямоугольник: скругленные углы 64">
              <a:extLst>
                <a:ext uri="{FF2B5EF4-FFF2-40B4-BE49-F238E27FC236}">
                  <a16:creationId xmlns:a16="http://schemas.microsoft.com/office/drawing/2014/main" id="{73190C78-DB36-C915-C2FE-248D4BFEC4D7}"/>
                </a:ext>
              </a:extLst>
            </p:cNvPr>
            <p:cNvSpPr/>
            <p:nvPr/>
          </p:nvSpPr>
          <p:spPr>
            <a:xfrm>
              <a:off x="6029005" y="1848082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EA09BDF-4524-69CB-7A66-6638D40E47CB}"/>
                </a:ext>
              </a:extLst>
            </p:cNvPr>
            <p:cNvSpPr txBox="1"/>
            <p:nvPr/>
          </p:nvSpPr>
          <p:spPr>
            <a:xfrm>
              <a:off x="4754328" y="3908670"/>
              <a:ext cx="3538564" cy="12589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ru-RU"/>
              </a:defPPr>
              <a:lvl1pPr marL="228600" indent="-228600">
                <a:spcAft>
                  <a:spcPts val="600"/>
                </a:spcAft>
                <a:buAutoNum type="arabicPeriod"/>
                <a:defRPr sz="1200"/>
              </a:lvl1pPr>
            </a:lstStyle>
            <a:p>
              <a:pPr>
                <a:buFont typeface="+mj-lt"/>
                <a:buAutoNum type="arabicPeriod" startAt="6"/>
              </a:pPr>
              <a:r>
                <a:rPr lang="ru-RU" dirty="0"/>
                <a:t>Цвет вспомогательного текста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 больших плашек в тёмной теме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а для маркировки роста/падения показателей в таблицах.</a:t>
              </a:r>
            </a:p>
          </p:txBody>
        </p:sp>
        <p:sp>
          <p:nvSpPr>
            <p:cNvPr id="142" name="Прямоугольник: скругленные углы 66">
              <a:extLst>
                <a:ext uri="{FF2B5EF4-FFF2-40B4-BE49-F238E27FC236}">
                  <a16:creationId xmlns:a16="http://schemas.microsoft.com/office/drawing/2014/main" id="{7F578ABB-86DA-2D28-FB0D-6F26F3F51616}"/>
                </a:ext>
              </a:extLst>
            </p:cNvPr>
            <p:cNvSpPr/>
            <p:nvPr/>
          </p:nvSpPr>
          <p:spPr>
            <a:xfrm>
              <a:off x="4967311" y="5221257"/>
              <a:ext cx="728387" cy="570495"/>
            </a:xfrm>
            <a:prstGeom prst="roundRect">
              <a:avLst>
                <a:gd name="adj" fmla="val 8253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900">
                <a:solidFill>
                  <a:schemeClr val="tx2"/>
                </a:solidFill>
              </a:endParaRPr>
            </a:p>
          </p:txBody>
        </p:sp>
        <p:sp>
          <p:nvSpPr>
            <p:cNvPr id="143" name="Прямоугольник: скругленные углы 67">
              <a:extLst>
                <a:ext uri="{FF2B5EF4-FFF2-40B4-BE49-F238E27FC236}">
                  <a16:creationId xmlns:a16="http://schemas.microsoft.com/office/drawing/2014/main" id="{34BA46B6-4EAD-3D49-E4A6-147FE2E4976A}"/>
                </a:ext>
              </a:extLst>
            </p:cNvPr>
            <p:cNvSpPr/>
            <p:nvPr/>
          </p:nvSpPr>
          <p:spPr>
            <a:xfrm>
              <a:off x="4780118" y="5221258"/>
              <a:ext cx="147470" cy="242152"/>
            </a:xfrm>
            <a:prstGeom prst="roundRect">
              <a:avLst>
                <a:gd name="adj" fmla="val 20249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DFF2BDC-351B-9189-BF06-4368E6CFA142}"/>
                </a:ext>
              </a:extLst>
            </p:cNvPr>
            <p:cNvSpPr txBox="1"/>
            <p:nvPr/>
          </p:nvSpPr>
          <p:spPr>
            <a:xfrm>
              <a:off x="5788662" y="5228672"/>
              <a:ext cx="2235410" cy="5471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spc="-30" dirty="0"/>
                <a:t>Слева от слайда добавили подсказку по выбору цветов, которая дублирует информацию выше. </a:t>
              </a:r>
            </a:p>
          </p:txBody>
        </p:sp>
        <p:sp>
          <p:nvSpPr>
            <p:cNvPr id="145" name="Прямоугольник: скругленные углы 69">
              <a:extLst>
                <a:ext uri="{FF2B5EF4-FFF2-40B4-BE49-F238E27FC236}">
                  <a16:creationId xmlns:a16="http://schemas.microsoft.com/office/drawing/2014/main" id="{4159EF26-62C4-8B58-ED6B-15706AB0E022}"/>
                </a:ext>
              </a:extLst>
            </p:cNvPr>
            <p:cNvSpPr/>
            <p:nvPr/>
          </p:nvSpPr>
          <p:spPr>
            <a:xfrm>
              <a:off x="4780118" y="5495518"/>
              <a:ext cx="147470" cy="173301"/>
            </a:xfrm>
            <a:prstGeom prst="roundRect">
              <a:avLst>
                <a:gd name="adj" fmla="val 1886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6" name="Прямоугольник: скругленные углы 70">
              <a:extLst>
                <a:ext uri="{FF2B5EF4-FFF2-40B4-BE49-F238E27FC236}">
                  <a16:creationId xmlns:a16="http://schemas.microsoft.com/office/drawing/2014/main" id="{8ABBFB18-DBBD-2DB9-8A1A-34DF93D1D83D}"/>
                </a:ext>
              </a:extLst>
            </p:cNvPr>
            <p:cNvSpPr/>
            <p:nvPr/>
          </p:nvSpPr>
          <p:spPr>
            <a:xfrm>
              <a:off x="4780118" y="5700927"/>
              <a:ext cx="147470" cy="99462"/>
            </a:xfrm>
            <a:prstGeom prst="roundRect">
              <a:avLst>
                <a:gd name="adj" fmla="val 29916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7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519749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749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1A5E7A27-B406-F04E-B3D1-269B3686E5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57C6829E-406F-964B-B3A2-72F9D9050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38A28D30-1C03-579F-359E-5FA2F710804E}"/>
              </a:ext>
            </a:extLst>
          </p:cNvPr>
          <p:cNvSpPr>
            <a:spLocks noChangeAspect="1"/>
          </p:cNvSpPr>
          <p:nvPr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6643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10D6F415-5971-D713-010A-984685CE43F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D40097E2-2B5C-8101-60E7-30D795E30DCA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94702B16-41DB-EC61-7FA5-51AE8CA2BA1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799" y="1520824"/>
            <a:ext cx="10911600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</a:t>
            </a:r>
            <a:br>
              <a:rPr lang="en-US" dirty="0"/>
            </a:br>
            <a:r>
              <a:rPr lang="ru-RU" dirty="0"/>
              <a:t>слайда в 1–2 строки</a:t>
            </a:r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093387"/>
              </p:ext>
            </p:extLst>
          </p:nvPr>
        </p:nvGraphicFramePr>
        <p:xfrm>
          <a:off x="-2046114" y="312643"/>
          <a:ext cx="1914309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381792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B3C4C6E-EB0B-0D4C-A48E-6F561F737B3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EFD538C-FA8E-7FEB-7646-11CBD8E487D7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9FBBDF2D-B6AA-7C42-E7A8-1F2C6E580F57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F9B3039A-0474-03BA-F180-3615605F4E3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5" name="Рисунок 93">
                <a:extLst>
                  <a:ext uri="{FF2B5EF4-FFF2-40B4-BE49-F238E27FC236}">
                    <a16:creationId xmlns:a16="http://schemas.microsoft.com/office/drawing/2014/main" id="{73304B93-8BA8-B417-7E41-6F569E8C14A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A64D423-6D96-E041-2DD6-6B8FE1A7051B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CA252D23-0362-3ABC-AED3-B98F27A20B4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58" name="Прямоугольник: скругленные углы 57">
                <a:extLst>
                  <a:ext uri="{FF2B5EF4-FFF2-40B4-BE49-F238E27FC236}">
                    <a16:creationId xmlns:a16="http://schemas.microsoft.com/office/drawing/2014/main" id="{F42E0623-38F7-A50B-7CCA-8FA49D784B0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8F041766-36F9-9509-C8B4-40232A368A7F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8DE30C-D978-9641-8FAD-C2B48D85CE7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62" name="Прямоугольник: скругленные углы 61">
                <a:extLst>
                  <a:ext uri="{FF2B5EF4-FFF2-40B4-BE49-F238E27FC236}">
                    <a16:creationId xmlns:a16="http://schemas.microsoft.com/office/drawing/2014/main" id="{048EF23C-A368-A68F-C5E0-1143EA66DF21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Прямоугольник: скругленные углы 62">
                <a:extLst>
                  <a:ext uri="{FF2B5EF4-FFF2-40B4-BE49-F238E27FC236}">
                    <a16:creationId xmlns:a16="http://schemas.microsoft.com/office/drawing/2014/main" id="{A71F8CBF-6A2F-812E-6B09-B4F91F87DC56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Прямоугольник: скругленные углы 63">
                <a:extLst>
                  <a:ext uri="{FF2B5EF4-FFF2-40B4-BE49-F238E27FC236}">
                    <a16:creationId xmlns:a16="http://schemas.microsoft.com/office/drawing/2014/main" id="{5D36134D-A530-1A43-8E23-7A1EA29FD974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Прямоугольник: скругленные углы 68">
                <a:extLst>
                  <a:ext uri="{FF2B5EF4-FFF2-40B4-BE49-F238E27FC236}">
                    <a16:creationId xmlns:a16="http://schemas.microsoft.com/office/drawing/2014/main" id="{48DD726A-8157-51D0-7992-ED0334CAEE15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230E83E-9184-027A-2DD2-219E747112A8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71" name="Прямоугольник: скругленные углы 70">
                <a:extLst>
                  <a:ext uri="{FF2B5EF4-FFF2-40B4-BE49-F238E27FC236}">
                    <a16:creationId xmlns:a16="http://schemas.microsoft.com/office/drawing/2014/main" id="{0C730AAB-CD5C-40B7-905D-4A580D2BC0B4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Прямоугольник: скругленные углы 71">
                <a:extLst>
                  <a:ext uri="{FF2B5EF4-FFF2-40B4-BE49-F238E27FC236}">
                    <a16:creationId xmlns:a16="http://schemas.microsoft.com/office/drawing/2014/main" id="{FB72CAE4-9A5F-F061-A1FA-1E7CF355F8E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Прямоугольник: скругленные углы 74">
                <a:extLst>
                  <a:ext uri="{FF2B5EF4-FFF2-40B4-BE49-F238E27FC236}">
                    <a16:creationId xmlns:a16="http://schemas.microsoft.com/office/drawing/2014/main" id="{EB57B6F5-6B09-9952-5AEF-46221A63E724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75EA4B5D-C619-1C5B-4B9C-8E37163B174C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003CEAB0-FB45-E651-28CB-C992E96682A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: скругленные углы 83">
                <a:extLst>
                  <a:ext uri="{FF2B5EF4-FFF2-40B4-BE49-F238E27FC236}">
                    <a16:creationId xmlns:a16="http://schemas.microsoft.com/office/drawing/2014/main" id="{D8A87001-7504-170C-42DA-1C8955C7E5E9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4115BFEA-91B0-7165-C99B-6D9CA6EE0ECB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A6B2DE75-2183-A2E6-268C-6B4288D2864C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4" name="Прямоугольник: скругленные углы 13">
                <a:extLst>
                  <a:ext uri="{FF2B5EF4-FFF2-40B4-BE49-F238E27FC236}">
                    <a16:creationId xmlns:a16="http://schemas.microsoft.com/office/drawing/2014/main" id="{AC3E90A0-A83D-7E29-F145-AA600291AE0C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Прямоугольник: скругленные углы 14">
                <a:extLst>
                  <a:ext uri="{FF2B5EF4-FFF2-40B4-BE49-F238E27FC236}">
                    <a16:creationId xmlns:a16="http://schemas.microsoft.com/office/drawing/2014/main" id="{B99D43E0-49F1-8209-4F98-5262F28AC1A9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: скругленные углы 15">
                <a:extLst>
                  <a:ext uri="{FF2B5EF4-FFF2-40B4-BE49-F238E27FC236}">
                    <a16:creationId xmlns:a16="http://schemas.microsoft.com/office/drawing/2014/main" id="{BCEC3CD9-44E1-EECA-E818-76B9BFE7DD6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543906E8-9B34-89C2-4269-843FAD6EA35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C8C80097-0ECD-AAAD-2C0F-1869371B37D0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AB934DEE-0052-5D57-1578-12DF5ADB4828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Прямоугольник: скругленные углы 79">
                <a:extLst>
                  <a:ext uri="{FF2B5EF4-FFF2-40B4-BE49-F238E27FC236}">
                    <a16:creationId xmlns:a16="http://schemas.microsoft.com/office/drawing/2014/main" id="{4D92696F-DED9-0846-BD85-2E730744F4B6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" name="Прямоугольник: скругленные углы 63">
                <a:extLst>
                  <a:ext uri="{FF2B5EF4-FFF2-40B4-BE49-F238E27FC236}">
                    <a16:creationId xmlns:a16="http://schemas.microsoft.com/office/drawing/2014/main" id="{7C96BD48-7945-6540-9642-8C6F2D64646E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45" name="Нижний колонтитул 4">
            <a:extLst>
              <a:ext uri="{FF2B5EF4-FFF2-40B4-BE49-F238E27FC236}">
                <a16:creationId xmlns:a16="http://schemas.microsoft.com/office/drawing/2014/main" id="{E640122E-D722-FB4B-A1F8-B1FDEA3AC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119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2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6000" y="642960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94885169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1DB60FFA-738D-6045-837A-4E00FBB4642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1047FD88-C264-254B-A630-89C07142DE7C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41" name="Прямоугольник: скругленные углы 89">
                <a:extLst>
                  <a:ext uri="{FF2B5EF4-FFF2-40B4-BE49-F238E27FC236}">
                    <a16:creationId xmlns:a16="http://schemas.microsoft.com/office/drawing/2014/main" id="{BAE6F0E7-0D0E-9A42-A15B-980E2A91653E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1F6B1124-9D77-DF45-94BA-7FFE6C310726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3" name="Рисунок 93">
                <a:extLst>
                  <a:ext uri="{FF2B5EF4-FFF2-40B4-BE49-F238E27FC236}">
                    <a16:creationId xmlns:a16="http://schemas.microsoft.com/office/drawing/2014/main" id="{0228B513-A00D-0D46-8B66-BFB85B6B3C7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CBB12E0-3F6E-CA46-B003-0D912C26197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91ACE51C-BB38-4445-BB89-49E21A0B3A8A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7" name="Прямоугольник: скругленные углы 57">
                <a:extLst>
                  <a:ext uri="{FF2B5EF4-FFF2-40B4-BE49-F238E27FC236}">
                    <a16:creationId xmlns:a16="http://schemas.microsoft.com/office/drawing/2014/main" id="{FA0ED545-CDA8-F549-ACE8-99DABA47D2B0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FBB814F1-D0AA-044F-A837-6972949F7DE1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F54CC9C5-8F2E-2E4E-A7C1-E2B74D876FF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20" name="Прямоугольник: скругленные углы 61">
                <a:extLst>
                  <a:ext uri="{FF2B5EF4-FFF2-40B4-BE49-F238E27FC236}">
                    <a16:creationId xmlns:a16="http://schemas.microsoft.com/office/drawing/2014/main" id="{06597B6C-F31E-0043-9711-0059EB7573A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62">
                <a:extLst>
                  <a:ext uri="{FF2B5EF4-FFF2-40B4-BE49-F238E27FC236}">
                    <a16:creationId xmlns:a16="http://schemas.microsoft.com/office/drawing/2014/main" id="{A5E9401C-762A-2944-B381-6922E6C30238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63">
                <a:extLst>
                  <a:ext uri="{FF2B5EF4-FFF2-40B4-BE49-F238E27FC236}">
                    <a16:creationId xmlns:a16="http://schemas.microsoft.com/office/drawing/2014/main" id="{C4EB1874-4CDE-9541-8C11-0E0B5C8A64BA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68">
                <a:extLst>
                  <a:ext uri="{FF2B5EF4-FFF2-40B4-BE49-F238E27FC236}">
                    <a16:creationId xmlns:a16="http://schemas.microsoft.com/office/drawing/2014/main" id="{DF504DB6-5FE5-0C4D-9300-2A74A83D6B84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5F1BE16A-089F-3B4B-979C-4E824CE569B9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25" name="Прямоугольник: скругленные углы 70">
                <a:extLst>
                  <a:ext uri="{FF2B5EF4-FFF2-40B4-BE49-F238E27FC236}">
                    <a16:creationId xmlns:a16="http://schemas.microsoft.com/office/drawing/2014/main" id="{6461EA0C-BCBF-AD4F-9C13-6CB746AEEE43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Прямоугольник: скругленные углы 71">
                <a:extLst>
                  <a:ext uri="{FF2B5EF4-FFF2-40B4-BE49-F238E27FC236}">
                    <a16:creationId xmlns:a16="http://schemas.microsoft.com/office/drawing/2014/main" id="{1F6CBFBE-7F66-EA4B-B6C2-2696564E0709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: скругленные углы 74">
                <a:extLst>
                  <a:ext uri="{FF2B5EF4-FFF2-40B4-BE49-F238E27FC236}">
                    <a16:creationId xmlns:a16="http://schemas.microsoft.com/office/drawing/2014/main" id="{338A988E-91AF-E74D-BC08-F9A00057B1C2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17CDB3F3-D417-364A-8A47-1EF7FE4C87A4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9" name="Прямоугольник: скругленные углы 82">
                <a:extLst>
                  <a:ext uri="{FF2B5EF4-FFF2-40B4-BE49-F238E27FC236}">
                    <a16:creationId xmlns:a16="http://schemas.microsoft.com/office/drawing/2014/main" id="{0D481F14-A897-4A4A-9276-51E211051C5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83">
                <a:extLst>
                  <a:ext uri="{FF2B5EF4-FFF2-40B4-BE49-F238E27FC236}">
                    <a16:creationId xmlns:a16="http://schemas.microsoft.com/office/drawing/2014/main" id="{756C79EB-FFCF-924D-9CA6-341E9FF16BFF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84">
                <a:extLst>
                  <a:ext uri="{FF2B5EF4-FFF2-40B4-BE49-F238E27FC236}">
                    <a16:creationId xmlns:a16="http://schemas.microsoft.com/office/drawing/2014/main" id="{4FEA62CC-C8DF-CB4D-B88E-6F018239E4A9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6342771-3FF1-6A46-B459-7C0A8E85929D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33" name="Прямоугольник: скругленные углы 13">
                <a:extLst>
                  <a:ext uri="{FF2B5EF4-FFF2-40B4-BE49-F238E27FC236}">
                    <a16:creationId xmlns:a16="http://schemas.microsoft.com/office/drawing/2014/main" id="{F3D76818-BB4D-6841-9C5B-855CFBFA0A8E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14">
                <a:extLst>
                  <a:ext uri="{FF2B5EF4-FFF2-40B4-BE49-F238E27FC236}">
                    <a16:creationId xmlns:a16="http://schemas.microsoft.com/office/drawing/2014/main" id="{840E1A9B-7764-E241-BB61-703F7FA22BD0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: скругленные углы 15">
                <a:extLst>
                  <a:ext uri="{FF2B5EF4-FFF2-40B4-BE49-F238E27FC236}">
                    <a16:creationId xmlns:a16="http://schemas.microsoft.com/office/drawing/2014/main" id="{1E3DFBFF-5423-7948-89D1-AE0ECB21A5C8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Прямоугольник: скругленные углы 20">
                <a:extLst>
                  <a:ext uri="{FF2B5EF4-FFF2-40B4-BE49-F238E27FC236}">
                    <a16:creationId xmlns:a16="http://schemas.microsoft.com/office/drawing/2014/main" id="{3C5F50C8-799A-6646-86F5-2AFCAE559C5D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7" name="Прямоугольник: скругленные углы 21">
                <a:extLst>
                  <a:ext uri="{FF2B5EF4-FFF2-40B4-BE49-F238E27FC236}">
                    <a16:creationId xmlns:a16="http://schemas.microsoft.com/office/drawing/2014/main" id="{BB799AC8-1839-4E46-980A-1680D0F2559E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8" name="Прямоугольник: скругленные углы 22">
                <a:extLst>
                  <a:ext uri="{FF2B5EF4-FFF2-40B4-BE49-F238E27FC236}">
                    <a16:creationId xmlns:a16="http://schemas.microsoft.com/office/drawing/2014/main" id="{8D06C0A0-C7B4-4E44-9701-3059DD5A9390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Прямоугольник: скругленные углы 79">
                <a:extLst>
                  <a:ext uri="{FF2B5EF4-FFF2-40B4-BE49-F238E27FC236}">
                    <a16:creationId xmlns:a16="http://schemas.microsoft.com/office/drawing/2014/main" id="{4B5F9A9D-D4AA-8843-9907-1BAB5265C0CC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: скругленные углы 63">
                <a:extLst>
                  <a:ext uri="{FF2B5EF4-FFF2-40B4-BE49-F238E27FC236}">
                    <a16:creationId xmlns:a16="http://schemas.microsoft.com/office/drawing/2014/main" id="{B12830A1-64DC-B348-AE85-D752F85E407F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B4D8696-D92B-FA0E-3B11-461E3143B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A401FE13-B13D-29B2-D2A8-7EC8A52BE3B0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61EA78A-07D8-1B0A-D52F-2000FAB5F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8085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DB7B6FF-BCB4-0D7F-43C7-738D0A9ACD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60AE0B07-6FE3-17A5-A55E-AE65600F26E5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B898C728-5E02-E127-800E-915A6CED6D5D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 dirty="0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69578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7" name="Нижний колонтитул 4">
            <a:extLst>
              <a:ext uri="{FF2B5EF4-FFF2-40B4-BE49-F238E27FC236}">
                <a16:creationId xmlns:a16="http://schemas.microsoft.com/office/drawing/2014/main" id="{3533BB9A-69F9-284C-B8F9-52463236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BD89BFE4-C341-1B47-9B71-F50873234CE8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834BC7B3-5C70-524F-ADD8-52F3C5F107E0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35" name="Прямоугольник: скругленные углы 89">
                <a:extLst>
                  <a:ext uri="{FF2B5EF4-FFF2-40B4-BE49-F238E27FC236}">
                    <a16:creationId xmlns:a16="http://schemas.microsoft.com/office/drawing/2014/main" id="{5217C7F2-4697-C849-9729-B97317BDCD65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FC583186-DDFC-904C-BE35-F43E5AEB75E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7" name="Рисунок 93">
                <a:extLst>
                  <a:ext uri="{FF2B5EF4-FFF2-40B4-BE49-F238E27FC236}">
                    <a16:creationId xmlns:a16="http://schemas.microsoft.com/office/drawing/2014/main" id="{39A53F60-DC92-BC4D-9DBA-E0749A80126E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B979AC4-0565-544F-BD17-2769D5F3B3F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2969F078-F215-5C48-8DA5-5E62D47FE51E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1" name="Прямоугольник: скругленные углы 57">
                <a:extLst>
                  <a:ext uri="{FF2B5EF4-FFF2-40B4-BE49-F238E27FC236}">
                    <a16:creationId xmlns:a16="http://schemas.microsoft.com/office/drawing/2014/main" id="{BA8E07D1-5D78-8A41-AF3B-B182ED2754F4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60938D9F-E19D-FF4B-A2C5-144BA9918D0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2C25D91-90BB-E64E-80BC-FF2F371E3358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14" name="Прямоугольник: скругленные углы 61">
                <a:extLst>
                  <a:ext uri="{FF2B5EF4-FFF2-40B4-BE49-F238E27FC236}">
                    <a16:creationId xmlns:a16="http://schemas.microsoft.com/office/drawing/2014/main" id="{3A77C429-0EDB-0340-A4D2-EA9F85F1798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62">
                <a:extLst>
                  <a:ext uri="{FF2B5EF4-FFF2-40B4-BE49-F238E27FC236}">
                    <a16:creationId xmlns:a16="http://schemas.microsoft.com/office/drawing/2014/main" id="{740F1B91-58A6-7C49-BA12-5E631058543D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63">
                <a:extLst>
                  <a:ext uri="{FF2B5EF4-FFF2-40B4-BE49-F238E27FC236}">
                    <a16:creationId xmlns:a16="http://schemas.microsoft.com/office/drawing/2014/main" id="{DCF0F58B-DBBB-A548-8606-CFB0E9CFC841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Прямоугольник: скругленные углы 68">
                <a:extLst>
                  <a:ext uri="{FF2B5EF4-FFF2-40B4-BE49-F238E27FC236}">
                    <a16:creationId xmlns:a16="http://schemas.microsoft.com/office/drawing/2014/main" id="{BBB5C707-1A45-6B41-AE89-AE36E0EEDF3F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0AF350A-F228-9D46-8228-C2006B46C831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9" name="Прямоугольник: скругленные углы 70">
                <a:extLst>
                  <a:ext uri="{FF2B5EF4-FFF2-40B4-BE49-F238E27FC236}">
                    <a16:creationId xmlns:a16="http://schemas.microsoft.com/office/drawing/2014/main" id="{0B82D208-C021-4A43-BA7B-1A1BBCBD27B0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71">
                <a:extLst>
                  <a:ext uri="{FF2B5EF4-FFF2-40B4-BE49-F238E27FC236}">
                    <a16:creationId xmlns:a16="http://schemas.microsoft.com/office/drawing/2014/main" id="{EB6C1208-56F6-CC4A-8274-94EA92BF9714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74">
                <a:extLst>
                  <a:ext uri="{FF2B5EF4-FFF2-40B4-BE49-F238E27FC236}">
                    <a16:creationId xmlns:a16="http://schemas.microsoft.com/office/drawing/2014/main" id="{4A968071-A79E-B84E-9BC5-BB5AE9B37327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89754C95-231D-B242-8E40-42E570622A38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3" name="Прямоугольник: скругленные углы 82">
                <a:extLst>
                  <a:ext uri="{FF2B5EF4-FFF2-40B4-BE49-F238E27FC236}">
                    <a16:creationId xmlns:a16="http://schemas.microsoft.com/office/drawing/2014/main" id="{48244B61-4FE3-494E-A759-779D4173ED2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83">
                <a:extLst>
                  <a:ext uri="{FF2B5EF4-FFF2-40B4-BE49-F238E27FC236}">
                    <a16:creationId xmlns:a16="http://schemas.microsoft.com/office/drawing/2014/main" id="{A28D6D7E-757B-0548-B01F-811EE63AF0D7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84">
                <a:extLst>
                  <a:ext uri="{FF2B5EF4-FFF2-40B4-BE49-F238E27FC236}">
                    <a16:creationId xmlns:a16="http://schemas.microsoft.com/office/drawing/2014/main" id="{EC12264D-60CC-2941-A2D5-986F8230811D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F0FDEB6-74FB-7D48-84BD-929415B84CD6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27" name="Прямоугольник: скругленные углы 13">
                <a:extLst>
                  <a:ext uri="{FF2B5EF4-FFF2-40B4-BE49-F238E27FC236}">
                    <a16:creationId xmlns:a16="http://schemas.microsoft.com/office/drawing/2014/main" id="{DBB56AF9-4B8A-D948-92F8-5C656226D42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8" name="Прямоугольник: скругленные углы 14">
                <a:extLst>
                  <a:ext uri="{FF2B5EF4-FFF2-40B4-BE49-F238E27FC236}">
                    <a16:creationId xmlns:a16="http://schemas.microsoft.com/office/drawing/2014/main" id="{E5865762-5817-3948-90BF-C383B0E13803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: скругленные углы 15">
                <a:extLst>
                  <a:ext uri="{FF2B5EF4-FFF2-40B4-BE49-F238E27FC236}">
                    <a16:creationId xmlns:a16="http://schemas.microsoft.com/office/drawing/2014/main" id="{B6F0FF74-E048-D44F-81D4-8EAF2714191B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20">
                <a:extLst>
                  <a:ext uri="{FF2B5EF4-FFF2-40B4-BE49-F238E27FC236}">
                    <a16:creationId xmlns:a16="http://schemas.microsoft.com/office/drawing/2014/main" id="{FCE31E5B-D877-844B-AD8D-6C96B45AA38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21">
                <a:extLst>
                  <a:ext uri="{FF2B5EF4-FFF2-40B4-BE49-F238E27FC236}">
                    <a16:creationId xmlns:a16="http://schemas.microsoft.com/office/drawing/2014/main" id="{579A5768-EB25-2147-837F-96AA6EBFDCF8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Прямоугольник: скругленные углы 22">
                <a:extLst>
                  <a:ext uri="{FF2B5EF4-FFF2-40B4-BE49-F238E27FC236}">
                    <a16:creationId xmlns:a16="http://schemas.microsoft.com/office/drawing/2014/main" id="{F851E1D3-D231-D141-9846-508981BCF64C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3" name="Прямоугольник: скругленные углы 79">
                <a:extLst>
                  <a:ext uri="{FF2B5EF4-FFF2-40B4-BE49-F238E27FC236}">
                    <a16:creationId xmlns:a16="http://schemas.microsoft.com/office/drawing/2014/main" id="{45406E7B-B207-844F-81FD-6B1178F1B353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63">
                <a:extLst>
                  <a:ext uri="{FF2B5EF4-FFF2-40B4-BE49-F238E27FC236}">
                    <a16:creationId xmlns:a16="http://schemas.microsoft.com/office/drawing/2014/main" id="{A658E357-7580-F642-8B18-619020470BBB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1341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8305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2E71DD8D-C54C-374A-9710-1CDE851D0C87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0" name="Группа 99">
              <a:extLst>
                <a:ext uri="{FF2B5EF4-FFF2-40B4-BE49-F238E27FC236}">
                  <a16:creationId xmlns:a16="http://schemas.microsoft.com/office/drawing/2014/main" id="{B53855B0-DA7A-AE45-A173-614583F73039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26" name="Прямоугольник: скругленные углы 89">
                <a:extLst>
                  <a:ext uri="{FF2B5EF4-FFF2-40B4-BE49-F238E27FC236}">
                    <a16:creationId xmlns:a16="http://schemas.microsoft.com/office/drawing/2014/main" id="{7159AD1D-C09D-8647-A4AA-10E7BFB4D65C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E33568B0-11B5-1141-8702-FA715885AE3C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Рисунок 93">
                <a:extLst>
                  <a:ext uri="{FF2B5EF4-FFF2-40B4-BE49-F238E27FC236}">
                    <a16:creationId xmlns:a16="http://schemas.microsoft.com/office/drawing/2014/main" id="{40273014-DBDC-8E4F-B059-5B0DD4EC34FF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E28EB6D-6A7C-A94F-821E-17CA0CB207E6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01" name="Группа 100">
              <a:extLst>
                <a:ext uri="{FF2B5EF4-FFF2-40B4-BE49-F238E27FC236}">
                  <a16:creationId xmlns:a16="http://schemas.microsoft.com/office/drawing/2014/main" id="{6F63AD88-FFF4-B441-A69B-64E098AD101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02" name="Прямоугольник: скругленные углы 57">
                <a:extLst>
                  <a:ext uri="{FF2B5EF4-FFF2-40B4-BE49-F238E27FC236}">
                    <a16:creationId xmlns:a16="http://schemas.microsoft.com/office/drawing/2014/main" id="{EE1DB3FB-2874-5C4C-A609-057380990A7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EE39FAF2-0900-DF43-8015-C2169FC456F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2D0638E-C82E-AA4F-9A3C-0F0C4889B26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05" name="Прямоугольник: скругленные углы 61">
                <a:extLst>
                  <a:ext uri="{FF2B5EF4-FFF2-40B4-BE49-F238E27FC236}">
                    <a16:creationId xmlns:a16="http://schemas.microsoft.com/office/drawing/2014/main" id="{E7C333EA-AFEE-0042-929F-A50583107B88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Прямоугольник: скругленные углы 62">
                <a:extLst>
                  <a:ext uri="{FF2B5EF4-FFF2-40B4-BE49-F238E27FC236}">
                    <a16:creationId xmlns:a16="http://schemas.microsoft.com/office/drawing/2014/main" id="{A6D201BF-E90D-9143-84E4-E1844FC5F0A1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Прямоугольник: скругленные углы 63">
                <a:extLst>
                  <a:ext uri="{FF2B5EF4-FFF2-40B4-BE49-F238E27FC236}">
                    <a16:creationId xmlns:a16="http://schemas.microsoft.com/office/drawing/2014/main" id="{E0610E90-A29F-5143-8FC6-FC430BFB8135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8" name="Прямоугольник: скругленные углы 68">
                <a:extLst>
                  <a:ext uri="{FF2B5EF4-FFF2-40B4-BE49-F238E27FC236}">
                    <a16:creationId xmlns:a16="http://schemas.microsoft.com/office/drawing/2014/main" id="{F532578D-C6A7-3E41-AC25-F7E0C266A6F6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3E7CF2D-4E99-D648-9065-91ED8253D14D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0" name="Прямоугольник: скругленные углы 70">
                <a:extLst>
                  <a:ext uri="{FF2B5EF4-FFF2-40B4-BE49-F238E27FC236}">
                    <a16:creationId xmlns:a16="http://schemas.microsoft.com/office/drawing/2014/main" id="{D7748610-2B67-AE4A-87D5-AD06019CD507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Прямоугольник: скругленные углы 71">
                <a:extLst>
                  <a:ext uri="{FF2B5EF4-FFF2-40B4-BE49-F238E27FC236}">
                    <a16:creationId xmlns:a16="http://schemas.microsoft.com/office/drawing/2014/main" id="{CB11B6E2-D967-B04C-8A33-92F3ECE14FD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углы 74">
                <a:extLst>
                  <a:ext uri="{FF2B5EF4-FFF2-40B4-BE49-F238E27FC236}">
                    <a16:creationId xmlns:a16="http://schemas.microsoft.com/office/drawing/2014/main" id="{BCB11055-11DA-3247-9ACA-197DD2E71500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47F8CA85-9D43-394C-9685-2939CB8BA4C0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14" name="Прямоугольник: скругленные углы 82">
                <a:extLst>
                  <a:ext uri="{FF2B5EF4-FFF2-40B4-BE49-F238E27FC236}">
                    <a16:creationId xmlns:a16="http://schemas.microsoft.com/office/drawing/2014/main" id="{717F8812-6875-1D45-994E-BB339312194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83">
                <a:extLst>
                  <a:ext uri="{FF2B5EF4-FFF2-40B4-BE49-F238E27FC236}">
                    <a16:creationId xmlns:a16="http://schemas.microsoft.com/office/drawing/2014/main" id="{E0AECB4F-8351-794D-93C5-0FC56AFD1D44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84">
                <a:extLst>
                  <a:ext uri="{FF2B5EF4-FFF2-40B4-BE49-F238E27FC236}">
                    <a16:creationId xmlns:a16="http://schemas.microsoft.com/office/drawing/2014/main" id="{84F07328-B7E0-5447-A55B-C1A2D8DB7C2A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0D6D75E-101A-6A4F-9178-9EFE8CC6D9A5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18" name="Прямоугольник: скругленные углы 13">
                <a:extLst>
                  <a:ext uri="{FF2B5EF4-FFF2-40B4-BE49-F238E27FC236}">
                    <a16:creationId xmlns:a16="http://schemas.microsoft.com/office/drawing/2014/main" id="{2C35EE01-2C3A-4C4A-90FA-C23A0EB4423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: скругленные углы 14">
                <a:extLst>
                  <a:ext uri="{FF2B5EF4-FFF2-40B4-BE49-F238E27FC236}">
                    <a16:creationId xmlns:a16="http://schemas.microsoft.com/office/drawing/2014/main" id="{F23846F3-3718-534D-AF86-698E5EC4412D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15">
                <a:extLst>
                  <a:ext uri="{FF2B5EF4-FFF2-40B4-BE49-F238E27FC236}">
                    <a16:creationId xmlns:a16="http://schemas.microsoft.com/office/drawing/2014/main" id="{3A97CAF1-689C-BF48-871E-BBB71320917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4B95C69C-1592-E444-B3B7-F89C4AB80847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4194A635-0E0B-C34A-A687-6A089157AD69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FAA25E15-7636-6B4F-981E-0AA4C3F0B291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79">
                <a:extLst>
                  <a:ext uri="{FF2B5EF4-FFF2-40B4-BE49-F238E27FC236}">
                    <a16:creationId xmlns:a16="http://schemas.microsoft.com/office/drawing/2014/main" id="{204BEF15-BA73-EA44-B155-CCBAB0CCEAA0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63">
                <a:extLst>
                  <a:ext uri="{FF2B5EF4-FFF2-40B4-BE49-F238E27FC236}">
                    <a16:creationId xmlns:a16="http://schemas.microsoft.com/office/drawing/2014/main" id="{87F68CB0-297D-CC43-BA1A-5FBBF3A6CE17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5531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8EF553D-F84B-BFE0-8F93-264A1FB7A8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77DEBC73-46CD-E988-59D6-8D2A021E3B62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F2CB4D3-4EA4-E3E4-B282-B3F6E8A14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3017412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4B61062-8E90-9247-91F2-031D1050D2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DE90434C-391E-2C92-EAF0-C15DC9E51826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11E2E2C-9B8E-0105-B312-39E7E2BBDF5A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19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E12A9EE7-556C-024A-A440-39817B7D8B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463E0D73-85A7-6B48-96CE-B4E3A12EB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4E651A1C-E2EA-D6A0-B368-C2CB66F5EAF4}"/>
              </a:ext>
            </a:extLst>
          </p:cNvPr>
          <p:cNvSpPr>
            <a:spLocks noChangeAspect="1"/>
          </p:cNvSpPr>
          <p:nvPr userDrawn="1"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617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403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519200"/>
            <a:ext cx="10910886" cy="474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ё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  <a:p>
            <a:pPr lvl="6"/>
            <a:r>
              <a:rPr lang="ru-RU" dirty="0"/>
              <a:t>Седьмой уровень</a:t>
            </a:r>
          </a:p>
          <a:p>
            <a:pPr lvl="7"/>
            <a:r>
              <a:rPr lang="ru-RU" dirty="0"/>
              <a:t>Восьмой уровень</a:t>
            </a:r>
          </a:p>
          <a:p>
            <a:pPr lvl="8"/>
            <a:r>
              <a:rPr lang="ru-RU" dirty="0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0800" y="6465600"/>
            <a:ext cx="8182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6000" y="6429600"/>
            <a:ext cx="907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9880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5" r:id="rId4"/>
    <p:sldLayoutId id="2147483846" r:id="rId5"/>
    <p:sldLayoutId id="2147483847" r:id="rId6"/>
    <p:sldLayoutId id="2147483840" r:id="rId7"/>
    <p:sldLayoutId id="2147483841" r:id="rId8"/>
    <p:sldLayoutId id="2147483842" r:id="rId9"/>
    <p:sldLayoutId id="2147483843" r:id="rId10"/>
    <p:sldLayoutId id="2147483849" r:id="rId11"/>
    <p:sldLayoutId id="2147483850" r:id="rId12"/>
    <p:sldLayoutId id="2147483851" r:id="rId13"/>
    <p:sldLayoutId id="2147483844" r:id="rId14"/>
    <p:sldLayoutId id="2147483853" r:id="rId15"/>
    <p:sldLayoutId id="2147483848" r:id="rId16"/>
    <p:sldLayoutId id="2147483854" r:id="rId17"/>
    <p:sldLayoutId id="2147483855" r:id="rId18"/>
    <p:sldLayoutId id="2147483852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 userDrawn="1">
          <p15:clr>
            <a:srgbClr val="9BADC0"/>
          </p15:clr>
        </p15:guide>
        <p15:guide id="72" pos="7680" userDrawn="1">
          <p15:clr>
            <a:srgbClr val="9BADC0"/>
          </p15:clr>
        </p15:guide>
        <p15:guide id="73" pos="403" userDrawn="1">
          <p15:clr>
            <a:srgbClr val="F26B43"/>
          </p15:clr>
        </p15:guide>
        <p15:guide id="74" pos="976" userDrawn="1">
          <p15:clr>
            <a:srgbClr val="9BADC0"/>
          </p15:clr>
        </p15:guide>
        <p15:guide id="75" pos="1548" userDrawn="1">
          <p15:clr>
            <a:srgbClr val="9BADC0"/>
          </p15:clr>
        </p15:guide>
        <p15:guide id="76" pos="2121" userDrawn="1">
          <p15:clr>
            <a:srgbClr val="9BADC0"/>
          </p15:clr>
        </p15:guide>
        <p15:guide id="77" pos="2694" userDrawn="1">
          <p15:clr>
            <a:srgbClr val="9BADC0"/>
          </p15:clr>
        </p15:guide>
        <p15:guide id="78" pos="3267" userDrawn="1">
          <p15:clr>
            <a:srgbClr val="9BADC0"/>
          </p15:clr>
        </p15:guide>
        <p15:guide id="79" pos="3840" userDrawn="1">
          <p15:clr>
            <a:srgbClr val="9BADC0"/>
          </p15:clr>
        </p15:guide>
        <p15:guide id="80" pos="4412" userDrawn="1">
          <p15:clr>
            <a:srgbClr val="9BADC0"/>
          </p15:clr>
        </p15:guide>
        <p15:guide id="81" pos="4985" userDrawn="1">
          <p15:clr>
            <a:srgbClr val="9BADC0"/>
          </p15:clr>
        </p15:guide>
        <p15:guide id="82" pos="5558" userDrawn="1">
          <p15:clr>
            <a:srgbClr val="9BADC0"/>
          </p15:clr>
        </p15:guide>
        <p15:guide id="83" pos="6131" userDrawn="1">
          <p15:clr>
            <a:srgbClr val="9BADC0"/>
          </p15:clr>
        </p15:guide>
        <p15:guide id="84" pos="6704" userDrawn="1">
          <p15:clr>
            <a:srgbClr val="9BADC0"/>
          </p15:clr>
        </p15:guide>
        <p15:guide id="85" pos="7276" userDrawn="1">
          <p15:clr>
            <a:srgbClr val="F26B43"/>
          </p15:clr>
        </p15:guide>
        <p15:guide id="86" orient="horz" pos="259" userDrawn="1">
          <p15:clr>
            <a:srgbClr val="F26B43"/>
          </p15:clr>
        </p15:guide>
        <p15:guide id="87" orient="horz" pos="39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irflow.apache.org/docs/apache-airflow/stable/core-concepts/dags.htm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9E1688-DAB2-FD54-1A5E-DDAC79F7A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>
            <a:extLst>
              <a:ext uri="{FF2B5EF4-FFF2-40B4-BE49-F238E27FC236}">
                <a16:creationId xmlns:a16="http://schemas.microsoft.com/office/drawing/2014/main" id="{260626FA-58FA-2AF1-C982-6FD94EA49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4106" y="4872682"/>
            <a:ext cx="7289625" cy="817562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Антон Шишков</a:t>
            </a:r>
          </a:p>
          <a:p>
            <a:pPr>
              <a:spcAft>
                <a:spcPts val="300"/>
              </a:spcAft>
            </a:pP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Разработчик информационных систем</a:t>
            </a:r>
          </a:p>
          <a:p>
            <a:pPr>
              <a:spcAft>
                <a:spcPts val="300"/>
              </a:spcAft>
            </a:pP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72CE7F0-A83A-2B9B-4487-4A87C6AB32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ache Airflow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174215B-62F3-E5F6-0B10-C372123075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2323" y="4765314"/>
            <a:ext cx="783205" cy="78232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8CB6D45-7822-8C75-69E6-4B44BA8B06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04"/>
          <a:stretch/>
        </p:blipFill>
        <p:spPr>
          <a:xfrm>
            <a:off x="8884682" y="3512561"/>
            <a:ext cx="2912366" cy="2767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87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1091A2CD-CE22-6EB6-78CC-A69B0DA5D61C}"/>
              </a:ext>
            </a:extLst>
          </p:cNvPr>
          <p:cNvSpPr/>
          <p:nvPr/>
        </p:nvSpPr>
        <p:spPr>
          <a:xfrm>
            <a:off x="2030231" y="1251911"/>
            <a:ext cx="8129954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21E79FB-61B6-F8B3-D21E-C1AAC0A90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26A058-B1FE-B92E-52F8-842C19564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</a:t>
            </a:r>
            <a:r>
              <a:rPr lang="en" dirty="0" err="1"/>
              <a:t>Dockerfile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04F0AC7-44AC-6632-104D-91573DD8C8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371374"/>
            <a:ext cx="7772400" cy="41152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366444-BF30-C1FD-BB68-CAA94A783CA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ckerfile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0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8CBB0-57D1-D091-F525-EBF1B14589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98BAA7BE-F56C-3567-CE3E-638D5A0B00A6}"/>
              </a:ext>
            </a:extLst>
          </p:cNvPr>
          <p:cNvSpPr/>
          <p:nvPr/>
        </p:nvSpPr>
        <p:spPr>
          <a:xfrm>
            <a:off x="3236431" y="1251911"/>
            <a:ext cx="5717551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C24F1D5-C8D6-F45B-B420-B839CEE65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0C1E7B9-4A68-611C-A313-49EA88A7C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Model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968457-B4F0-8A04-3911-F87214A8202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dels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7F7D6FB-F90E-8C2F-997C-D0D68F80FB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076" b="3569"/>
          <a:stretch/>
        </p:blipFill>
        <p:spPr>
          <a:xfrm>
            <a:off x="3407493" y="1396602"/>
            <a:ext cx="5375429" cy="406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17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41569-228F-E9BC-D8C2-192036F45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9AFF92E-250D-A053-FF94-1D52632C7537}"/>
              </a:ext>
            </a:extLst>
          </p:cNvPr>
          <p:cNvSpPr/>
          <p:nvPr/>
        </p:nvSpPr>
        <p:spPr>
          <a:xfrm>
            <a:off x="2785593" y="1251911"/>
            <a:ext cx="6644157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0E828D5-F10A-B271-BF83-B0562B081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8022" y="1251912"/>
            <a:ext cx="6051456" cy="4354176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EDBE474-5308-52ED-27BD-371DCA840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AA80D15-8CE7-ABFB-25BD-8640F3D63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Handler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E30124-9A96-3FB0-094D-A1E376A1AA64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ndlers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99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37AA37-8EF1-3CA8-2A3A-29FA5CB8C3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106D7F9-271D-2F18-894C-7BC1523141DB}"/>
              </a:ext>
            </a:extLst>
          </p:cNvPr>
          <p:cNvSpPr/>
          <p:nvPr/>
        </p:nvSpPr>
        <p:spPr>
          <a:xfrm>
            <a:off x="3252651" y="1251911"/>
            <a:ext cx="5708469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1722BCE-5AC3-D76F-83EA-71D73FBCC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DD1CDE5-2686-13CD-AAC4-9328790AA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Main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0DE1B-0FB9-DC95-623C-32C47CEBFDBD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in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6301315-2434-4602-6D54-F2579E877F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7119" y="1265229"/>
            <a:ext cx="5137761" cy="434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00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6CA65DC-BFC1-B77B-E799-EE47289DC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C6C61D-BC50-B1A3-5D29-0923D1EB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744" y="3884017"/>
            <a:ext cx="7588506" cy="1560179"/>
          </a:xfrm>
        </p:spPr>
        <p:txBody>
          <a:bodyPr/>
          <a:lstStyle/>
          <a:p>
            <a:pPr algn="ctr"/>
            <a:r>
              <a:rPr lang="ru-RU" sz="4400" dirty="0"/>
              <a:t>Поднимем </a:t>
            </a:r>
            <a:r>
              <a:rPr lang="en" sz="4400" dirty="0"/>
              <a:t>Postgres, </a:t>
            </a:r>
            <a:r>
              <a:rPr lang="en" sz="4400" dirty="0" err="1"/>
              <a:t>Clickhouse</a:t>
            </a:r>
            <a:r>
              <a:rPr lang="en" sz="4400" dirty="0"/>
              <a:t>, </a:t>
            </a:r>
            <a:r>
              <a:rPr lang="en" sz="4400" dirty="0" err="1"/>
              <a:t>Minio</a:t>
            </a:r>
            <a:r>
              <a:rPr lang="en" sz="4400" dirty="0"/>
              <a:t> </a:t>
            </a:r>
            <a:r>
              <a:rPr lang="ru-RU" sz="4400" dirty="0"/>
              <a:t>и </a:t>
            </a:r>
            <a:r>
              <a:rPr lang="en" sz="4400" dirty="0" err="1"/>
              <a:t>fakerApi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CF86131-37CF-0E0C-53D1-F16B55076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15D9CB5-B153-39B2-DEEE-E433FC5478CB}"/>
              </a:ext>
            </a:extLst>
          </p:cNvPr>
          <p:cNvGrpSpPr/>
          <p:nvPr/>
        </p:nvGrpSpPr>
        <p:grpSpPr>
          <a:xfrm rot="20946755">
            <a:off x="4485247" y="2129477"/>
            <a:ext cx="3221501" cy="922870"/>
            <a:chOff x="4485247" y="2129477"/>
            <a:chExt cx="3221501" cy="92287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618931DF-8EB5-201B-4A2A-2B4084F6CCFF}"/>
                </a:ext>
              </a:extLst>
            </p:cNvPr>
            <p:cNvSpPr/>
            <p:nvPr/>
          </p:nvSpPr>
          <p:spPr>
            <a:xfrm>
              <a:off x="4485247" y="2129477"/>
              <a:ext cx="3221501" cy="92287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97652CA5-A3C8-6385-1825-0F17858F9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2383" t="35818" r="12244" b="36442"/>
            <a:stretch/>
          </p:blipFill>
          <p:spPr>
            <a:xfrm>
              <a:off x="4625191" y="2229305"/>
              <a:ext cx="2941611" cy="723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711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EC4FA-A030-FB5D-A34D-81D9E26D86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9504DE8-79B3-4AF2-F183-CD334978E319}"/>
              </a:ext>
            </a:extLst>
          </p:cNvPr>
          <p:cNvSpPr/>
          <p:nvPr/>
        </p:nvSpPr>
        <p:spPr>
          <a:xfrm>
            <a:off x="3616036" y="1251911"/>
            <a:ext cx="4987638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ECC5A17-B341-DD2B-8BF8-35F8B9EEE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11BAB28-EA9E-3F71-3853-608F8549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Postgre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54D5D8-47CF-3BEE-656A-6629681FAB18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gres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B61C43B-9ED7-BC4A-0EE1-4F9387F4F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1442" y="1251911"/>
            <a:ext cx="4469115" cy="4354176"/>
          </a:xfrm>
          <a:prstGeom prst="rect">
            <a:avLst/>
          </a:prstGeom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55F70D40-6763-4639-CDAB-BF78F5C502AE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094FD25-96A9-00C7-5447-67D957F455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11147" y="444419"/>
            <a:ext cx="1039505" cy="101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30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984A5-3FD3-6D79-5917-615041CC66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49D75A7-D3FC-FE5A-455F-198D0AD4E41B}"/>
              </a:ext>
            </a:extLst>
          </p:cNvPr>
          <p:cNvSpPr/>
          <p:nvPr/>
        </p:nvSpPr>
        <p:spPr>
          <a:xfrm>
            <a:off x="3528280" y="1251911"/>
            <a:ext cx="5133853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85C57ED-E80E-A83D-63B3-F67BE9A09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A2E19AE-8A89-CE20-AF27-3BC159D88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Clickhouse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4DDE69-F1EB-BEF7-4553-CFA055518E0B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house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90657FD-225C-DF1A-B217-DB988ABDCF90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53E053B-8DB9-2779-E657-5FA98EE4D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442" y="537728"/>
            <a:ext cx="825518" cy="80379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E6EB612-C51F-3A72-DD46-7D5AADDE2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5356" y="1258970"/>
            <a:ext cx="4779703" cy="434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1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E46D65-73C8-F2CC-A812-1B03DC71F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FA72CA6-4A56-432C-FA7A-A66B1106AF22}"/>
              </a:ext>
            </a:extLst>
          </p:cNvPr>
          <p:cNvSpPr/>
          <p:nvPr/>
        </p:nvSpPr>
        <p:spPr>
          <a:xfrm>
            <a:off x="2661608" y="1251911"/>
            <a:ext cx="686720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628CE3-1E7A-13F8-35F1-221B23CD9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5592DDA-0D67-261E-4ACB-458486B9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Minio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623FE3-2EA0-DA00-C449-345C70C98DEA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o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656D6727-0320-6A7C-BF7A-2C04D8092124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C758E5-96AB-971A-4930-9650F9C629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1866" y="1251912"/>
            <a:ext cx="6508267" cy="43541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52AD77B-A7ED-0AC7-C166-71000F09E8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0711" y="468088"/>
            <a:ext cx="628716" cy="94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8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9ADB8-AD65-712F-3509-9BD2D314F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43EA2BBF-D19E-F244-0D45-DBD7416BF842}"/>
              </a:ext>
            </a:extLst>
          </p:cNvPr>
          <p:cNvSpPr/>
          <p:nvPr/>
        </p:nvSpPr>
        <p:spPr>
          <a:xfrm>
            <a:off x="2661608" y="1251911"/>
            <a:ext cx="686720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FE4B92A-0AFD-784C-24AF-C2CC54806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4EE08DA-24E8-FB0B-6AEB-0BFDE1B84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F4BF3A-6669-B592-AF9D-B2A3A50F15A3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kerApi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6B37132A-0993-1947-A20C-E6A7119A6099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4FAB60C-7012-C811-AB90-3ACD17E735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9083" y="1301155"/>
            <a:ext cx="5203462" cy="425568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891E4E-0769-CCC9-EBCB-9FE4B02DB7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9535" y="684091"/>
            <a:ext cx="511068" cy="51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00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8E3DA-1165-92EE-0363-55A525F4F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0EFA69F-36EE-2DF2-FF82-F5471848575B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0DFA853-DF0B-91E4-677F-9960E7B43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61C0595-78FE-3732-B891-5414F3C2E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зовые концепции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BB34E3B-E37B-BE3F-4A48-F017940E64AA}"/>
              </a:ext>
            </a:extLst>
          </p:cNvPr>
          <p:cNvGrpSpPr/>
          <p:nvPr/>
        </p:nvGrpSpPr>
        <p:grpSpPr>
          <a:xfrm>
            <a:off x="697651" y="1602225"/>
            <a:ext cx="5279577" cy="461665"/>
            <a:chOff x="697651" y="4241372"/>
            <a:chExt cx="5279577" cy="46166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EE3BB2B-9178-36F7-FABF-53F53CD3F3B3}"/>
                </a:ext>
              </a:extLst>
            </p:cNvPr>
            <p:cNvSpPr txBox="1"/>
            <p:nvPr/>
          </p:nvSpPr>
          <p:spPr>
            <a:xfrm>
              <a:off x="1008928" y="4241372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G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Рисунок 15">
              <a:extLst>
                <a:ext uri="{FF2B5EF4-FFF2-40B4-BE49-F238E27FC236}">
                  <a16:creationId xmlns:a16="http://schemas.microsoft.com/office/drawing/2014/main" id="{85A1D087-508F-4D56-4D74-29854ABAAFF2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A8B166B-3AFB-3767-CD72-C54D9A97AF26}"/>
              </a:ext>
            </a:extLst>
          </p:cNvPr>
          <p:cNvGrpSpPr/>
          <p:nvPr/>
        </p:nvGrpSpPr>
        <p:grpSpPr>
          <a:xfrm>
            <a:off x="697651" y="2299027"/>
            <a:ext cx="5279577" cy="461665"/>
            <a:chOff x="697651" y="4232791"/>
            <a:chExt cx="5279577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8443CB1-E844-F8BC-1A3A-8AB6B40862EF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mmy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Рисунок 15">
              <a:extLst>
                <a:ext uri="{FF2B5EF4-FFF2-40B4-BE49-F238E27FC236}">
                  <a16:creationId xmlns:a16="http://schemas.microsoft.com/office/drawing/2014/main" id="{44E67166-3C82-1E65-A91D-D0465BD4F41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485B9D6A-D29B-6975-B6E3-2617103EF6B3}"/>
              </a:ext>
            </a:extLst>
          </p:cNvPr>
          <p:cNvGrpSpPr/>
          <p:nvPr/>
        </p:nvGrpSpPr>
        <p:grpSpPr>
          <a:xfrm>
            <a:off x="695226" y="3005886"/>
            <a:ext cx="5279577" cy="461665"/>
            <a:chOff x="697651" y="4234267"/>
            <a:chExt cx="5279577" cy="46166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1412C9B-833B-BEBD-2C35-B997C070BBCE}"/>
                </a:ext>
              </a:extLst>
            </p:cNvPr>
            <p:cNvSpPr txBox="1"/>
            <p:nvPr/>
          </p:nvSpPr>
          <p:spPr>
            <a:xfrm>
              <a:off x="1008928" y="4234267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h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Рисунок 15">
              <a:extLst>
                <a:ext uri="{FF2B5EF4-FFF2-40B4-BE49-F238E27FC236}">
                  <a16:creationId xmlns:a16="http://schemas.microsoft.com/office/drawing/2014/main" id="{9CD195B8-E270-60AB-F5F4-FD6B4C3E3676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6B5EA34-8065-31B6-41BA-A3C6226FFDA0}"/>
              </a:ext>
            </a:extLst>
          </p:cNvPr>
          <p:cNvGrpSpPr/>
          <p:nvPr/>
        </p:nvGrpSpPr>
        <p:grpSpPr>
          <a:xfrm>
            <a:off x="695226" y="3715843"/>
            <a:ext cx="5279577" cy="461665"/>
            <a:chOff x="697651" y="4235293"/>
            <a:chExt cx="5279577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AF4AEFA-7432-7A03-2F2E-4715E0AEAB41}"/>
                </a:ext>
              </a:extLst>
            </p:cNvPr>
            <p:cNvSpPr txBox="1"/>
            <p:nvPr/>
          </p:nvSpPr>
          <p:spPr>
            <a:xfrm>
              <a:off x="1008928" y="4235293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Рисунок 15">
              <a:extLst>
                <a:ext uri="{FF2B5EF4-FFF2-40B4-BE49-F238E27FC236}">
                  <a16:creationId xmlns:a16="http://schemas.microsoft.com/office/drawing/2014/main" id="{972A338E-9458-ED2B-0308-C60F9A34812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BA88FD05-4A22-1DEB-25AB-704D243144D3}"/>
              </a:ext>
            </a:extLst>
          </p:cNvPr>
          <p:cNvGrpSpPr/>
          <p:nvPr/>
        </p:nvGrpSpPr>
        <p:grpSpPr>
          <a:xfrm>
            <a:off x="695226" y="4415176"/>
            <a:ext cx="5279577" cy="461665"/>
            <a:chOff x="697651" y="4232791"/>
            <a:chExt cx="5279577" cy="46166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905AC2D-8F5D-8565-C91E-9398309441E2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QLSens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39A3E565-AA91-834E-82C4-BC79D551448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0D164B23-0C9C-22F9-9374-8466C85DB128}"/>
              </a:ext>
            </a:extLst>
          </p:cNvPr>
          <p:cNvGrpSpPr/>
          <p:nvPr/>
        </p:nvGrpSpPr>
        <p:grpSpPr>
          <a:xfrm>
            <a:off x="695226" y="5117011"/>
            <a:ext cx="5279577" cy="461665"/>
            <a:chOff x="697651" y="4232791"/>
            <a:chExt cx="5279577" cy="461665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D02C859-5929-92DA-D04E-39D581D5DB88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ernalTaskSens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92885021-B967-6F1E-604B-6343F234ACF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7EAFD93-9408-01BF-46B8-96009D10BA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288" y="1298168"/>
            <a:ext cx="4600634" cy="460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93F7438-6913-5D5F-1A1E-DC3D6FC12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6" name="Прямоугольник: скругленные углы 3">
            <a:extLst>
              <a:ext uri="{FF2B5EF4-FFF2-40B4-BE49-F238E27FC236}">
                <a16:creationId xmlns:a16="http://schemas.microsoft.com/office/drawing/2014/main" id="{19D8BF8D-14A7-E745-2AD1-E2D724E642F9}"/>
              </a:ext>
            </a:extLst>
          </p:cNvPr>
          <p:cNvSpPr/>
          <p:nvPr/>
        </p:nvSpPr>
        <p:spPr>
          <a:xfrm>
            <a:off x="635001" y="411163"/>
            <a:ext cx="3638867" cy="5851525"/>
          </a:xfrm>
          <a:prstGeom prst="roundRect">
            <a:avLst>
              <a:gd name="adj" fmla="val 9687"/>
            </a:avLst>
          </a:prstGeom>
          <a:blipFill>
            <a:blip r:embed="rId2"/>
            <a:srcRect/>
            <a:stretch>
              <a:fillRect t="-352" b="-3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: скругленные углы 9">
            <a:extLst>
              <a:ext uri="{FF2B5EF4-FFF2-40B4-BE49-F238E27FC236}">
                <a16:creationId xmlns:a16="http://schemas.microsoft.com/office/drawing/2014/main" id="{6AE30EF2-F467-1AB4-D82D-ECB999CD7F67}"/>
              </a:ext>
            </a:extLst>
          </p:cNvPr>
          <p:cNvSpPr/>
          <p:nvPr/>
        </p:nvSpPr>
        <p:spPr>
          <a:xfrm>
            <a:off x="843818" y="5230678"/>
            <a:ext cx="3237931" cy="832880"/>
          </a:xfrm>
          <a:prstGeom prst="roundRect">
            <a:avLst>
              <a:gd name="adj" fmla="val 212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90ED53-2FDB-A0FB-AD5B-33008AC47BE0}"/>
              </a:ext>
            </a:extLst>
          </p:cNvPr>
          <p:cNvSpPr txBox="1"/>
          <p:nvPr/>
        </p:nvSpPr>
        <p:spPr>
          <a:xfrm>
            <a:off x="1455651" y="5435717"/>
            <a:ext cx="264160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</a:t>
            </a:r>
            <a:r>
              <a:rPr lang="en-US" dirty="0" err="1">
                <a:solidFill>
                  <a:schemeClr val="tx2"/>
                </a:solidFill>
                <a:latin typeface="Arial"/>
              </a:rPr>
              <a:t>rushawx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Рисунок 849">
            <a:extLst>
              <a:ext uri="{FF2B5EF4-FFF2-40B4-BE49-F238E27FC236}">
                <a16:creationId xmlns:a16="http://schemas.microsoft.com/office/drawing/2014/main" id="{3DB370B8-3EA1-9A66-D60B-F5C20608638E}"/>
              </a:ext>
            </a:extLst>
          </p:cNvPr>
          <p:cNvSpPr/>
          <p:nvPr/>
        </p:nvSpPr>
        <p:spPr>
          <a:xfrm>
            <a:off x="1094558" y="5512301"/>
            <a:ext cx="329550" cy="269633"/>
          </a:xfrm>
          <a:custGeom>
            <a:avLst/>
            <a:gdLst>
              <a:gd name="connsiteX0" fmla="*/ 14406 w 209549"/>
              <a:gd name="connsiteY0" fmla="*/ 73809 h 171450"/>
              <a:gd name="connsiteX1" fmla="*/ 126933 w 209549"/>
              <a:gd name="connsiteY1" fmla="*/ 25956 h 171450"/>
              <a:gd name="connsiteX2" fmla="*/ 198911 w 209549"/>
              <a:gd name="connsiteY2" fmla="*/ 1 h 171450"/>
              <a:gd name="connsiteX3" fmla="*/ 206388 w 209549"/>
              <a:gd name="connsiteY3" fmla="*/ 2217 h 171450"/>
              <a:gd name="connsiteX4" fmla="*/ 209134 w 209549"/>
              <a:gd name="connsiteY4" fmla="*/ 7376 h 171450"/>
              <a:gd name="connsiteX5" fmla="*/ 209457 w 209549"/>
              <a:gd name="connsiteY5" fmla="*/ 14876 h 171450"/>
              <a:gd name="connsiteX6" fmla="*/ 187596 w 209549"/>
              <a:gd name="connsiteY6" fmla="*/ 151834 h 171450"/>
              <a:gd name="connsiteX7" fmla="*/ 174409 w 209549"/>
              <a:gd name="connsiteY7" fmla="*/ 171365 h 171450"/>
              <a:gd name="connsiteX8" fmla="*/ 143842 w 209549"/>
              <a:gd name="connsiteY8" fmla="*/ 157030 h 171450"/>
              <a:gd name="connsiteX9" fmla="*/ 100781 w 209549"/>
              <a:gd name="connsiteY9" fmla="*/ 128473 h 171450"/>
              <a:gd name="connsiteX10" fmla="*/ 104937 w 209549"/>
              <a:gd name="connsiteY10" fmla="*/ 98134 h 171450"/>
              <a:gd name="connsiteX11" fmla="*/ 158105 w 209549"/>
              <a:gd name="connsiteY11" fmla="*/ 46864 h 171450"/>
              <a:gd name="connsiteX12" fmla="*/ 157206 w 209549"/>
              <a:gd name="connsiteY12" fmla="*/ 43496 h 171450"/>
              <a:gd name="connsiteX13" fmla="*/ 153212 w 209549"/>
              <a:gd name="connsiteY13" fmla="*/ 43114 h 171450"/>
              <a:gd name="connsiteX14" fmla="*/ 71822 w 209549"/>
              <a:gd name="connsiteY14" fmla="*/ 96224 h 171450"/>
              <a:gd name="connsiteX15" fmla="*/ 50897 w 209549"/>
              <a:gd name="connsiteY15" fmla="*/ 103856 h 171450"/>
              <a:gd name="connsiteX16" fmla="*/ 20902 w 209549"/>
              <a:gd name="connsiteY16" fmla="*/ 96848 h 171450"/>
              <a:gd name="connsiteX17" fmla="*/ 51 w 209549"/>
              <a:gd name="connsiteY17" fmla="*/ 84333 h 171450"/>
              <a:gd name="connsiteX18" fmla="*/ 14406 w 209549"/>
              <a:gd name="connsiteY18" fmla="*/ 73809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09549" h="171450">
                <a:moveTo>
                  <a:pt x="14406" y="73809"/>
                </a:moveTo>
                <a:cubicBezTo>
                  <a:pt x="70656" y="49613"/>
                  <a:pt x="108165" y="33662"/>
                  <a:pt x="126933" y="25956"/>
                </a:cubicBezTo>
                <a:cubicBezTo>
                  <a:pt x="180519" y="3951"/>
                  <a:pt x="191653" y="129"/>
                  <a:pt x="198911" y="1"/>
                </a:cubicBezTo>
                <a:cubicBezTo>
                  <a:pt x="200507" y="-25"/>
                  <a:pt x="204076" y="365"/>
                  <a:pt x="206388" y="2217"/>
                </a:cubicBezTo>
                <a:cubicBezTo>
                  <a:pt x="208340" y="3781"/>
                  <a:pt x="208878" y="5894"/>
                  <a:pt x="209134" y="7376"/>
                </a:cubicBezTo>
                <a:cubicBezTo>
                  <a:pt x="209391" y="8859"/>
                  <a:pt x="209711" y="12236"/>
                  <a:pt x="209457" y="14876"/>
                </a:cubicBezTo>
                <a:cubicBezTo>
                  <a:pt x="206553" y="44998"/>
                  <a:pt x="193988" y="118097"/>
                  <a:pt x="187596" y="151834"/>
                </a:cubicBezTo>
                <a:cubicBezTo>
                  <a:pt x="184891" y="166110"/>
                  <a:pt x="179565" y="170897"/>
                  <a:pt x="174409" y="171365"/>
                </a:cubicBezTo>
                <a:cubicBezTo>
                  <a:pt x="163204" y="172383"/>
                  <a:pt x="154695" y="164054"/>
                  <a:pt x="143842" y="157030"/>
                </a:cubicBezTo>
                <a:cubicBezTo>
                  <a:pt x="126860" y="146040"/>
                  <a:pt x="117265" y="139198"/>
                  <a:pt x="100781" y="128473"/>
                </a:cubicBezTo>
                <a:cubicBezTo>
                  <a:pt x="81730" y="116079"/>
                  <a:pt x="94080" y="109267"/>
                  <a:pt x="104937" y="98134"/>
                </a:cubicBezTo>
                <a:cubicBezTo>
                  <a:pt x="107778" y="95220"/>
                  <a:pt x="157149" y="50886"/>
                  <a:pt x="158105" y="46864"/>
                </a:cubicBezTo>
                <a:cubicBezTo>
                  <a:pt x="158225" y="46361"/>
                  <a:pt x="158335" y="44486"/>
                  <a:pt x="157206" y="43496"/>
                </a:cubicBezTo>
                <a:cubicBezTo>
                  <a:pt x="156079" y="42506"/>
                  <a:pt x="154414" y="42845"/>
                  <a:pt x="153212" y="43114"/>
                </a:cubicBezTo>
                <a:cubicBezTo>
                  <a:pt x="151508" y="43495"/>
                  <a:pt x="124378" y="61199"/>
                  <a:pt x="71822" y="96224"/>
                </a:cubicBezTo>
                <a:cubicBezTo>
                  <a:pt x="64121" y="101445"/>
                  <a:pt x="57146" y="103988"/>
                  <a:pt x="50897" y="103856"/>
                </a:cubicBezTo>
                <a:cubicBezTo>
                  <a:pt x="44007" y="103708"/>
                  <a:pt x="30754" y="100010"/>
                  <a:pt x="20902" y="96848"/>
                </a:cubicBezTo>
                <a:cubicBezTo>
                  <a:pt x="8819" y="92970"/>
                  <a:pt x="-786" y="90920"/>
                  <a:pt x="51" y="84333"/>
                </a:cubicBezTo>
                <a:cubicBezTo>
                  <a:pt x="486" y="80903"/>
                  <a:pt x="5271" y="77395"/>
                  <a:pt x="14406" y="73809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68D5D4BE-E3F2-6446-334E-CD885D623218}"/>
              </a:ext>
            </a:extLst>
          </p:cNvPr>
          <p:cNvSpPr/>
          <p:nvPr/>
        </p:nvSpPr>
        <p:spPr>
          <a:xfrm>
            <a:off x="4693582" y="3105859"/>
            <a:ext cx="6857507" cy="3156829"/>
          </a:xfrm>
          <a:prstGeom prst="roundRect">
            <a:avLst>
              <a:gd name="adj" fmla="val 88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75BFA2-DC5F-5453-EC96-E12612FD4481}"/>
              </a:ext>
            </a:extLst>
          </p:cNvPr>
          <p:cNvSpPr txBox="1"/>
          <p:nvPr/>
        </p:nvSpPr>
        <p:spPr>
          <a:xfrm>
            <a:off x="4707438" y="699135"/>
            <a:ext cx="4355880" cy="1412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85000"/>
              </a:lnSpc>
              <a:spcBef>
                <a:spcPts val="8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400" b="1" dirty="0">
                <a:solidFill>
                  <a:srgbClr val="022B44"/>
                </a:solidFill>
                <a:latin typeface="Arial"/>
              </a:rPr>
              <a:t>Антон Шишков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rgbClr val="022B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1DE1E0-E4CC-FF46-6992-A8691152114A}"/>
              </a:ext>
            </a:extLst>
          </p:cNvPr>
          <p:cNvSpPr txBox="1"/>
          <p:nvPr/>
        </p:nvSpPr>
        <p:spPr>
          <a:xfrm>
            <a:off x="4601823" y="2231898"/>
            <a:ext cx="58273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T Eesti Pro Display Regular"/>
              </a:rPr>
              <a:t>Разработчик информационных систем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ED458E9-B40C-605B-C803-54869CB0C2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4715" y="314903"/>
            <a:ext cx="2212803" cy="2212803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811A624-A640-18F0-27CF-248FA9B5C962}"/>
              </a:ext>
            </a:extLst>
          </p:cNvPr>
          <p:cNvGrpSpPr/>
          <p:nvPr/>
        </p:nvGrpSpPr>
        <p:grpSpPr>
          <a:xfrm>
            <a:off x="4996698" y="3336925"/>
            <a:ext cx="5577454" cy="332335"/>
            <a:chOff x="5158895" y="3817101"/>
            <a:chExt cx="5577454" cy="332335"/>
          </a:xfrm>
        </p:grpSpPr>
        <p:sp>
          <p:nvSpPr>
            <p:cNvPr id="16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6C958172-59A5-24B3-A44E-409EA574624D}"/>
                </a:ext>
              </a:extLst>
            </p:cNvPr>
            <p:cNvSpPr txBox="1"/>
            <p:nvPr/>
          </p:nvSpPr>
          <p:spPr>
            <a:xfrm>
              <a:off x="5376484" y="3817101"/>
              <a:ext cx="5359865" cy="332335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Пишу сервисы на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Python</a:t>
              </a:r>
              <a:r>
                <a:rPr lang="en" sz="1800" kern="0" dirty="0">
                  <a:solidFill>
                    <a:srgbClr val="0E1114"/>
                  </a:solidFill>
                  <a:latin typeface="Arial"/>
                </a:rPr>
                <a:t> </a:t>
              </a:r>
              <a:r>
                <a:rPr lang="ru-RU" sz="1800" kern="0" dirty="0">
                  <a:solidFill>
                    <a:srgbClr val="0E1114"/>
                  </a:solidFill>
                  <a:latin typeface="Arial"/>
                </a:rPr>
                <a:t>и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Golang</a:t>
              </a:r>
            </a:p>
          </p:txBody>
        </p:sp>
        <p:sp>
          <p:nvSpPr>
            <p:cNvPr id="17" name="Рисунок 51">
              <a:extLst>
                <a:ext uri="{FF2B5EF4-FFF2-40B4-BE49-F238E27FC236}">
                  <a16:creationId xmlns:a16="http://schemas.microsoft.com/office/drawing/2014/main" id="{72AD1873-6DFF-2AE0-513E-362C728E96F9}"/>
                </a:ext>
              </a:extLst>
            </p:cNvPr>
            <p:cNvSpPr/>
            <p:nvPr/>
          </p:nvSpPr>
          <p:spPr>
            <a:xfrm>
              <a:off x="5158895" y="3925409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8FD2699-DA3A-D9BF-9A68-721441508D43}"/>
              </a:ext>
            </a:extLst>
          </p:cNvPr>
          <p:cNvGrpSpPr/>
          <p:nvPr/>
        </p:nvGrpSpPr>
        <p:grpSpPr>
          <a:xfrm>
            <a:off x="5005656" y="4400463"/>
            <a:ext cx="6251272" cy="941733"/>
            <a:chOff x="5158895" y="4250689"/>
            <a:chExt cx="6251272" cy="941733"/>
          </a:xfrm>
        </p:grpSpPr>
        <p:sp>
          <p:nvSpPr>
            <p:cNvPr id="19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9FE3C0C3-2049-BFEF-ACCA-BE512C580C39}"/>
                </a:ext>
              </a:extLst>
            </p:cNvPr>
            <p:cNvSpPr txBox="1"/>
            <p:nvPr/>
          </p:nvSpPr>
          <p:spPr>
            <a:xfrm>
              <a:off x="5376484" y="4250689"/>
              <a:ext cx="6033683" cy="941733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Из инструментов также использую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Docker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Airflow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Postgres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Clickhouse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 Redis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Elasticsearch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Superset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Grafana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Kafka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Spark</a:t>
              </a:r>
              <a:endParaRPr kumimoji="0" sz="18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T Eesti Pro Display Light"/>
              </a:endParaRPr>
            </a:p>
          </p:txBody>
        </p:sp>
        <p:sp>
          <p:nvSpPr>
            <p:cNvPr id="20" name="Рисунок 51">
              <a:extLst>
                <a:ext uri="{FF2B5EF4-FFF2-40B4-BE49-F238E27FC236}">
                  <a16:creationId xmlns:a16="http://schemas.microsoft.com/office/drawing/2014/main" id="{CD024DBB-908A-88DC-A01F-419811B93871}"/>
                </a:ext>
              </a:extLst>
            </p:cNvPr>
            <p:cNvSpPr/>
            <p:nvPr/>
          </p:nvSpPr>
          <p:spPr>
            <a:xfrm>
              <a:off x="5158895" y="4356232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35B81C66-43CA-60B5-8CF0-7F56A04CE086}"/>
              </a:ext>
            </a:extLst>
          </p:cNvPr>
          <p:cNvGrpSpPr/>
          <p:nvPr/>
        </p:nvGrpSpPr>
        <p:grpSpPr>
          <a:xfrm>
            <a:off x="4996698" y="5342196"/>
            <a:ext cx="4428090" cy="637034"/>
            <a:chOff x="5158895" y="4250689"/>
            <a:chExt cx="4428090" cy="637034"/>
          </a:xfrm>
        </p:grpSpPr>
        <p:sp>
          <p:nvSpPr>
            <p:cNvPr id="22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CDA94AF2-1AED-ADE8-CE7F-F23C52B7D9A8}"/>
                </a:ext>
              </a:extLst>
            </p:cNvPr>
            <p:cNvSpPr txBox="1"/>
            <p:nvPr/>
          </p:nvSpPr>
          <p:spPr>
            <a:xfrm>
              <a:off x="5376485" y="4250689"/>
              <a:ext cx="4210500" cy="637034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В свободное время занимаюсь бегом и образованием</a:t>
              </a:r>
              <a:endParaRPr kumimoji="0" lang="en" sz="18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T Eesti Pro Display Light"/>
              </a:endParaRPr>
            </a:p>
          </p:txBody>
        </p:sp>
        <p:sp>
          <p:nvSpPr>
            <p:cNvPr id="23" name="Рисунок 51">
              <a:extLst>
                <a:ext uri="{FF2B5EF4-FFF2-40B4-BE49-F238E27FC236}">
                  <a16:creationId xmlns:a16="http://schemas.microsoft.com/office/drawing/2014/main" id="{A1481AF1-ED7B-BC27-DBB1-739BA741AF2B}"/>
                </a:ext>
              </a:extLst>
            </p:cNvPr>
            <p:cNvSpPr/>
            <p:nvPr/>
          </p:nvSpPr>
          <p:spPr>
            <a:xfrm>
              <a:off x="5158895" y="4356232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229E1AC-571B-7230-D2D9-1D5203B32528}"/>
              </a:ext>
            </a:extLst>
          </p:cNvPr>
          <p:cNvSpPr txBox="1"/>
          <p:nvPr/>
        </p:nvSpPr>
        <p:spPr>
          <a:xfrm>
            <a:off x="8115300" y="-6429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grpSp>
        <p:nvGrpSpPr>
          <p:cNvPr id="10" name="Группа 14">
            <a:extLst>
              <a:ext uri="{FF2B5EF4-FFF2-40B4-BE49-F238E27FC236}">
                <a16:creationId xmlns:a16="http://schemas.microsoft.com/office/drawing/2014/main" id="{E5999C37-BCAB-7E3F-6ACC-FC4DE7C8109A}"/>
              </a:ext>
            </a:extLst>
          </p:cNvPr>
          <p:cNvGrpSpPr/>
          <p:nvPr/>
        </p:nvGrpSpPr>
        <p:grpSpPr>
          <a:xfrm>
            <a:off x="4996698" y="3847515"/>
            <a:ext cx="6033683" cy="637097"/>
            <a:chOff x="5158895" y="3817101"/>
            <a:chExt cx="5577454" cy="637097"/>
          </a:xfrm>
        </p:grpSpPr>
        <p:sp>
          <p:nvSpPr>
            <p:cNvPr id="25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050A5CEE-6609-7BE8-6899-4526440E4828}"/>
                </a:ext>
              </a:extLst>
            </p:cNvPr>
            <p:cNvSpPr txBox="1"/>
            <p:nvPr/>
          </p:nvSpPr>
          <p:spPr>
            <a:xfrm>
              <a:off x="5376484" y="3817101"/>
              <a:ext cx="5359865" cy="637097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Поддерживаю пайплайны данных на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Python</a:t>
              </a:r>
              <a:r>
                <a:rPr lang="en" sz="1800" kern="0" dirty="0">
                  <a:solidFill>
                    <a:srgbClr val="0E1114"/>
                  </a:solidFill>
                  <a:latin typeface="Arial"/>
                </a:rPr>
                <a:t> </a:t>
              </a:r>
              <a:r>
                <a:rPr lang="ru-RU" sz="1800" kern="0" dirty="0">
                  <a:solidFill>
                    <a:srgbClr val="0E1114"/>
                  </a:solidFill>
                  <a:latin typeface="Arial"/>
                </a:rPr>
                <a:t>и </a:t>
              </a:r>
              <a:r>
                <a:rPr lang="en-US" sz="1800" b="1" kern="0" dirty="0">
                  <a:solidFill>
                    <a:srgbClr val="0E1114"/>
                  </a:solidFill>
                  <a:latin typeface="Arial"/>
                </a:rPr>
                <a:t>SQL</a:t>
              </a:r>
              <a:endParaRPr kumimoji="0" lang="en" sz="18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T Eesti Pro Display Light"/>
              </a:endParaRPr>
            </a:p>
          </p:txBody>
        </p:sp>
        <p:sp>
          <p:nvSpPr>
            <p:cNvPr id="26" name="Рисунок 51">
              <a:extLst>
                <a:ext uri="{FF2B5EF4-FFF2-40B4-BE49-F238E27FC236}">
                  <a16:creationId xmlns:a16="http://schemas.microsoft.com/office/drawing/2014/main" id="{F71450B1-15E7-D787-C4A3-6C11859DCB29}"/>
                </a:ext>
              </a:extLst>
            </p:cNvPr>
            <p:cNvSpPr/>
            <p:nvPr/>
          </p:nvSpPr>
          <p:spPr>
            <a:xfrm>
              <a:off x="5158895" y="3925409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93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0DFF3-0988-1AA4-14AC-C05638716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758AEEB-970B-1DD6-0E11-3304CF55EA65}"/>
              </a:ext>
            </a:extLst>
          </p:cNvPr>
          <p:cNvSpPr/>
          <p:nvPr/>
        </p:nvSpPr>
        <p:spPr>
          <a:xfrm>
            <a:off x="2173298" y="1251911"/>
            <a:ext cx="784382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69DC503-937F-E748-8D55-410BDC1D1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EC73828-023D-FE96-E6EC-2165DC56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DAG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32A5A9-E830-C488-4502-3AE486F4164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6BE09-9C0F-C500-9844-AA29E3BD4203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AFDD198-AB22-117A-0179-198AE7CF7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2618" y="1277049"/>
            <a:ext cx="7585180" cy="43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19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3375E-82B1-2CD2-9C87-B3D39E2C1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D1A0429-D443-8B2A-C786-D8F316E9D8CB}"/>
              </a:ext>
            </a:extLst>
          </p:cNvPr>
          <p:cNvSpPr/>
          <p:nvPr/>
        </p:nvSpPr>
        <p:spPr>
          <a:xfrm>
            <a:off x="639764" y="1251910"/>
            <a:ext cx="7034665" cy="4778775"/>
          </a:xfrm>
          <a:prstGeom prst="roundRect">
            <a:avLst>
              <a:gd name="adj" fmla="val 3744"/>
            </a:avLst>
          </a:prstGeom>
          <a:solidFill>
            <a:srgbClr val="1A1A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0000343-9D29-8AD1-FDB7-068E4D4D9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5D85AB1-75FA-F519-E199-B4472D578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on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E3CFED-7A17-74EB-DCDF-10B9CB35730F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ACE807-EDE9-3747-F77F-C84C69351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760" y="1403049"/>
            <a:ext cx="6714744" cy="4476496"/>
          </a:xfrm>
          <a:prstGeom prst="rect">
            <a:avLst/>
          </a:prstGeom>
        </p:spPr>
      </p:pic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673B5809-D485-93DC-619D-DBB9D10DB8CA}"/>
              </a:ext>
            </a:extLst>
          </p:cNvPr>
          <p:cNvSpPr/>
          <p:nvPr/>
        </p:nvSpPr>
        <p:spPr>
          <a:xfrm>
            <a:off x="7894907" y="1251909"/>
            <a:ext cx="3670037" cy="4778775"/>
          </a:xfrm>
          <a:prstGeom prst="roundRect">
            <a:avLst>
              <a:gd name="adj" fmla="val 3744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41CC5F-853E-C3F7-FE5B-450AEDF49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5351" y="1371519"/>
            <a:ext cx="3449147" cy="382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06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605CD-4FD3-F347-309E-B98C285C7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FF8DE80-FF2E-000E-6731-69A1E831C74B}"/>
              </a:ext>
            </a:extLst>
          </p:cNvPr>
          <p:cNvSpPr/>
          <p:nvPr/>
        </p:nvSpPr>
        <p:spPr>
          <a:xfrm>
            <a:off x="1962949" y="2301239"/>
            <a:ext cx="8264518" cy="2270761"/>
          </a:xfrm>
          <a:prstGeom prst="roundRect">
            <a:avLst>
              <a:gd name="adj" fmla="val 10455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317CAAD-734C-3E81-7099-42E37F2EB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1E7DAD0-B2D2-B8CB-B25C-E78D652EB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Dummy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E01A39-E07C-C409-241F-4135CBE41EBE}"/>
              </a:ext>
            </a:extLst>
          </p:cNvPr>
          <p:cNvSpPr txBox="1"/>
          <p:nvPr/>
        </p:nvSpPr>
        <p:spPr>
          <a:xfrm>
            <a:off x="2511464" y="4885557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AA4EBA-6ED4-481E-95D9-DA10AC44BDA7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F560995-AAC0-9792-CCF5-A172739FA1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614796"/>
            <a:ext cx="7772400" cy="16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0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16759-FAB7-893A-B468-7B66D747F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D042EEB-C8F3-833C-6B17-DF4B2CF64858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EFFEA8-CA3E-294D-D170-B6502F2AB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CF1E22D-DD1A-113C-2490-C4BC6C55E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Bash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C4D904-C610-BCBD-81C7-A492D597F6C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h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B951B2-3202-CBB4-65FB-90B8C2BC4572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343EB00-38D5-5432-EEFA-93A99373CB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051748"/>
            <a:ext cx="7772400" cy="2754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91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B6D0-2D6A-8FBB-A3DB-7F5B87F503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DE49009-A8BD-7420-77F7-14353AEDEDBF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560C0AA-15E2-5EAD-9A8E-8248A38B7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18DA7D0-E5B2-5997-3C52-FC64375ED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Python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E43BF6-90C9-6A53-B0E1-E68E51332B68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ython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19FF2A-0417-A0CB-4936-7F30F1F915FC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E35118C-A70B-0B7C-3231-5714F7EA9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723943"/>
            <a:ext cx="7772400" cy="341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04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5689D-9804-2B78-E3C8-FE9011D8A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AE1E436-F66F-A084-42D8-BCBA8AC4D6BD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D6225EB-0B57-61F5-6E63-A909C2A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E161CC6-5734-CF65-6A93-A772DEA6B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Sql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1AA6BD-5578-40C8-A49E-169C5BDA1D75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ql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FE87F0-7C32-8E1A-5165-24D85A79763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81B055-C612-B819-4EBB-B86B1EF038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955858"/>
            <a:ext cx="7772400" cy="294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5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4DB60-C296-9835-35D1-EB1D1CB0E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7C3D562-909B-5C4F-C596-A75C94D22858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0BFC058-935C-DFDB-D9C9-9EEBD4263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0C267A9-0CF2-F88F-00D3-E6F218D88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ExternalTask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6870AC-F49C-1FA3-EBF8-AB7123115957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Task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8EF65C-D24F-D216-FB9E-58DCAE51DC3A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ED4EEA4-78DB-FA89-37D4-CA2D50E40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8467" y="2071303"/>
            <a:ext cx="8035066" cy="271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86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5DC3B-B616-9A79-8857-FF3893EF5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91EA396-BFEB-49A8-41F3-2C29334CB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A597B5F-6058-5D44-3FBE-C7163462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executionOrde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AA6C7D-0C0B-A63B-A708-6CEFDFF4FDBB}"/>
              </a:ext>
            </a:extLst>
          </p:cNvPr>
          <p:cNvSpPr txBox="1"/>
          <p:nvPr/>
        </p:nvSpPr>
        <p:spPr>
          <a:xfrm>
            <a:off x="2511464" y="4362499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Orde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2C8DE6-41C6-7B82-96B7-DA54CEA43C72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E687816-22C2-A470-107D-4E856291C2FC}"/>
              </a:ext>
            </a:extLst>
          </p:cNvPr>
          <p:cNvGrpSpPr/>
          <p:nvPr/>
        </p:nvGrpSpPr>
        <p:grpSpPr>
          <a:xfrm>
            <a:off x="1275952" y="2794889"/>
            <a:ext cx="9640095" cy="1268222"/>
            <a:chOff x="1924849" y="2880360"/>
            <a:chExt cx="8340718" cy="1097280"/>
          </a:xfrm>
        </p:grpSpPr>
        <p:sp>
          <p:nvSpPr>
            <p:cNvPr id="7" name="Скругленный прямоугольник 6">
              <a:extLst>
                <a:ext uri="{FF2B5EF4-FFF2-40B4-BE49-F238E27FC236}">
                  <a16:creationId xmlns:a16="http://schemas.microsoft.com/office/drawing/2014/main" id="{15DD3604-EE04-361E-B9F0-96CB7BA885CF}"/>
                </a:ext>
              </a:extLst>
            </p:cNvPr>
            <p:cNvSpPr/>
            <p:nvPr/>
          </p:nvSpPr>
          <p:spPr>
            <a:xfrm>
              <a:off x="1924849" y="2880360"/>
              <a:ext cx="8340718" cy="1097280"/>
            </a:xfrm>
            <a:prstGeom prst="roundRect">
              <a:avLst>
                <a:gd name="adj" fmla="val 18229"/>
              </a:avLst>
            </a:prstGeom>
            <a:solidFill>
              <a:srgbClr val="0400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77EBF8EF-DE5D-D22A-3929-6DD6611CD0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9800" y="3139394"/>
              <a:ext cx="7772400" cy="5792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37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B6EE88B-5267-65FE-CD65-FF56431C8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A8A02E-E898-2F18-1C9F-98139B4E4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744" y="3884017"/>
            <a:ext cx="7588506" cy="1560179"/>
          </a:xfrm>
        </p:spPr>
        <p:txBody>
          <a:bodyPr/>
          <a:lstStyle/>
          <a:p>
            <a:pPr algn="ctr"/>
            <a:r>
              <a:rPr lang="en" sz="4400" dirty="0" err="1"/>
              <a:t>LiveCoding</a:t>
            </a:r>
            <a:r>
              <a:rPr lang="en" sz="4400" dirty="0"/>
              <a:t>. Airflow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4AB4825-7E79-4D01-F3CA-E8D28B96C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0F655F8-6916-62E5-5D0E-3AB08395515D}"/>
              </a:ext>
            </a:extLst>
          </p:cNvPr>
          <p:cNvGrpSpPr/>
          <p:nvPr/>
        </p:nvGrpSpPr>
        <p:grpSpPr>
          <a:xfrm rot="764675">
            <a:off x="4544880" y="1907538"/>
            <a:ext cx="3396483" cy="1161124"/>
            <a:chOff x="4485247" y="1413805"/>
            <a:chExt cx="4092223" cy="139897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751E47E3-E56A-C2D5-EC34-DB8205E090BC}"/>
                </a:ext>
              </a:extLst>
            </p:cNvPr>
            <p:cNvSpPr/>
            <p:nvPr/>
          </p:nvSpPr>
          <p:spPr>
            <a:xfrm>
              <a:off x="4485247" y="1413805"/>
              <a:ext cx="4092223" cy="139897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929873B2-B148-27E8-C2F4-8BF9D7DF6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7279" y="1474399"/>
              <a:ext cx="3748157" cy="12777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291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3259F-504B-2469-9994-3C363DB3B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0F775F2-87B3-4359-53EC-6ADD82B689E8}"/>
              </a:ext>
            </a:extLst>
          </p:cNvPr>
          <p:cNvSpPr/>
          <p:nvPr/>
        </p:nvSpPr>
        <p:spPr>
          <a:xfrm>
            <a:off x="1158955" y="1302233"/>
            <a:ext cx="9872421" cy="4921529"/>
          </a:xfrm>
          <a:prstGeom prst="roundRect">
            <a:avLst>
              <a:gd name="adj" fmla="val 2552"/>
            </a:avLst>
          </a:prstGeom>
          <a:solidFill>
            <a:schemeClr val="bg2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AE28919-2B3B-E189-EF42-2AC009306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C1752D0-1C0C-4C5E-8203-1BFF812E2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LiveCoding</a:t>
            </a:r>
            <a:r>
              <a:rPr lang="en" dirty="0"/>
              <a:t>. Airflow. Basic DAG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3CE70C-2613-7F45-876E-310EAAACF9CE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F885E7E-E123-2633-6D10-3962E58ECC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194" y="1415116"/>
            <a:ext cx="9585945" cy="469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44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8A797-7AEF-33D6-7DE7-091C01E77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39FAA9FA-6DB4-65CB-0DAC-8E091BA61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667" y="1520824"/>
            <a:ext cx="4741864" cy="4741864"/>
          </a:xfrm>
          <a:prstGeom prst="rect">
            <a:avLst/>
          </a:prstGeom>
          <a:noFill/>
        </p:spPr>
      </p:pic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27D72A-B27B-999F-3CFE-E9E965EB3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 vert="horz" lIns="0" tIns="0" rIns="0" bIns="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7AE835-400D-30C7-FB01-353CFB6CC626}"/>
              </a:ext>
            </a:extLst>
          </p:cNvPr>
          <p:cNvSpPr txBox="1"/>
          <p:nvPr/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0" marR="0" lvl="0" indent="0" fontAlgn="auto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200" i="0" u="none" strike="noStrike" cap="none" spc="-30" normalizeH="0" noProof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REPOSITORY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487BC404-6B82-A3F1-D291-5017B078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vert="horz" lIns="0" tIns="0" rIns="0" bIns="0" rtlCol="0" anchor="b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kern="1200" dirty="0">
                <a:latin typeface="+mn-lt"/>
                <a:ea typeface="+mn-ea"/>
                <a:cs typeface="+mn-cs"/>
              </a:rPr>
              <a:t>https://github.com/rushawx/airflowWebinarSimulative</a:t>
            </a:r>
          </a:p>
        </p:txBody>
      </p:sp>
    </p:spTree>
    <p:extLst>
      <p:ext uri="{BB962C8B-B14F-4D97-AF65-F5344CB8AC3E}">
        <p14:creationId xmlns:p14="http://schemas.microsoft.com/office/powerpoint/2010/main" val="382756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D27739-E30E-3999-6627-5F3A6474E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FAC1E32-3622-9189-5480-91F970338634}"/>
              </a:ext>
            </a:extLst>
          </p:cNvPr>
          <p:cNvSpPr/>
          <p:nvPr/>
        </p:nvSpPr>
        <p:spPr>
          <a:xfrm>
            <a:off x="1158955" y="1302233"/>
            <a:ext cx="9872421" cy="4921529"/>
          </a:xfrm>
          <a:prstGeom prst="roundRect">
            <a:avLst>
              <a:gd name="adj" fmla="val 2552"/>
            </a:avLst>
          </a:prstGeom>
          <a:solidFill>
            <a:schemeClr val="bg2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CDA0379-FB1C-5114-5B1C-A5863D998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BB78229-A600-CCCA-7AAE-D2D39268A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LiveCoding</a:t>
            </a:r>
            <a:r>
              <a:rPr lang="en" dirty="0"/>
              <a:t>. Airflow. Advanced DAG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FBA5D2-B830-62DC-40BD-9B79318FEBF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767618-8D20-7C91-5674-E7083A1AC2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193" y="1415116"/>
            <a:ext cx="9585945" cy="468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75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C296C-A70E-11D7-AE1E-89EC2F220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C022C76-9583-9C27-143B-468752140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B29C7F6-6335-3068-D3F5-22F5D5515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apReduce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CC3B95-D1AF-51AA-21A9-0B63F97D41AC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94ECCE-3E1D-C7E2-1F6C-24BF475DC3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09" y="1271589"/>
            <a:ext cx="11226382" cy="470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92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75871-3D84-F238-42FF-25711E0C8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39945185-0F8B-8069-552D-3C8DAFB80154}"/>
              </a:ext>
            </a:extLst>
          </p:cNvPr>
          <p:cNvSpPr/>
          <p:nvPr/>
        </p:nvSpPr>
        <p:spPr>
          <a:xfrm>
            <a:off x="-228599" y="1601594"/>
            <a:ext cx="6800850" cy="684465"/>
          </a:xfrm>
          <a:prstGeom prst="roundRect">
            <a:avLst>
              <a:gd name="adj" fmla="val 2321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DB3BE08-B3B6-39ED-1D55-719E2147B978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37000" t="-1000" r="-1000" b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A1E534F-D8C0-8CC9-0EC9-BF3217288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484C39C-3102-6544-E3EB-3C6A82C6A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лючение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53CE9DB-DA4E-372F-083A-FA903AE5B760}"/>
              </a:ext>
            </a:extLst>
          </p:cNvPr>
          <p:cNvGrpSpPr/>
          <p:nvPr/>
        </p:nvGrpSpPr>
        <p:grpSpPr>
          <a:xfrm>
            <a:off x="702653" y="2717133"/>
            <a:ext cx="5279577" cy="369332"/>
            <a:chOff x="697651" y="4284681"/>
            <a:chExt cx="5279577" cy="36933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B87E191-CBB7-390C-14A9-CD04EEE838A3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знакомились с </a:t>
              </a:r>
              <a:r>
                <a:rPr lang="en" dirty="0"/>
                <a:t>Airflow</a:t>
              </a:r>
              <a:endParaRPr lang="ru-RU" dirty="0"/>
            </a:p>
          </p:txBody>
        </p:sp>
        <p:sp>
          <p:nvSpPr>
            <p:cNvPr id="26" name="Рисунок 15">
              <a:extLst>
                <a:ext uri="{FF2B5EF4-FFF2-40B4-BE49-F238E27FC236}">
                  <a16:creationId xmlns:a16="http://schemas.microsoft.com/office/drawing/2014/main" id="{F698813B-AB30-704B-3430-296CB2FFB34A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0607F22-2892-EFD2-4402-8873DDF7C3DC}"/>
              </a:ext>
            </a:extLst>
          </p:cNvPr>
          <p:cNvGrpSpPr/>
          <p:nvPr/>
        </p:nvGrpSpPr>
        <p:grpSpPr>
          <a:xfrm>
            <a:off x="702653" y="3379386"/>
            <a:ext cx="5279577" cy="369332"/>
            <a:chOff x="697651" y="4284681"/>
            <a:chExt cx="5279577" cy="36933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F943B94-D75F-1435-2E86-06CC59290EAD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узнали что такое </a:t>
              </a:r>
              <a:r>
                <a:rPr lang="en" dirty="0"/>
                <a:t>DAG</a:t>
              </a:r>
              <a:endParaRPr lang="ru-RU" dirty="0"/>
            </a:p>
          </p:txBody>
        </p:sp>
        <p:sp>
          <p:nvSpPr>
            <p:cNvPr id="29" name="Рисунок 15">
              <a:extLst>
                <a:ext uri="{FF2B5EF4-FFF2-40B4-BE49-F238E27FC236}">
                  <a16:creationId xmlns:a16="http://schemas.microsoft.com/office/drawing/2014/main" id="{B8BA6CBE-7ED5-AE17-FB61-3F57068DC1F1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3532AABD-3129-6524-B6B2-414B111EFA5F}"/>
              </a:ext>
            </a:extLst>
          </p:cNvPr>
          <p:cNvGrpSpPr/>
          <p:nvPr/>
        </p:nvGrpSpPr>
        <p:grpSpPr>
          <a:xfrm>
            <a:off x="702653" y="4041639"/>
            <a:ext cx="5279577" cy="369332"/>
            <a:chOff x="697651" y="4284681"/>
            <a:chExt cx="5279577" cy="369332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BD97696-9C3C-7309-A243-4F9EB889A6C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ли веб-сервис на </a:t>
              </a:r>
              <a:r>
                <a:rPr lang="en" dirty="0" err="1"/>
                <a:t>FastAPI</a:t>
              </a:r>
              <a:endParaRPr lang="ru-RU" dirty="0"/>
            </a:p>
          </p:txBody>
        </p:sp>
        <p:sp>
          <p:nvSpPr>
            <p:cNvPr id="44" name="Рисунок 15">
              <a:extLst>
                <a:ext uri="{FF2B5EF4-FFF2-40B4-BE49-F238E27FC236}">
                  <a16:creationId xmlns:a16="http://schemas.microsoft.com/office/drawing/2014/main" id="{A793A32E-6EEA-5AF0-3FB1-28FED866FC56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28F36E6D-9B14-D756-9DDB-1ADF5DF2B845}"/>
              </a:ext>
            </a:extLst>
          </p:cNvPr>
          <p:cNvGrpSpPr/>
          <p:nvPr/>
        </p:nvGrpSpPr>
        <p:grpSpPr>
          <a:xfrm>
            <a:off x="702653" y="4703892"/>
            <a:ext cx="5279577" cy="369332"/>
            <a:chOff x="697651" y="4284681"/>
            <a:chExt cx="5279577" cy="36933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9E10896-8F70-97D3-EA19-095FDD3EE1C0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дняли </a:t>
              </a:r>
              <a:r>
                <a:rPr lang="en" dirty="0"/>
                <a:t>Airflow, Postgres, </a:t>
              </a:r>
              <a:r>
                <a:rPr lang="en" dirty="0" err="1"/>
                <a:t>Clickhouse</a:t>
              </a:r>
              <a:r>
                <a:rPr lang="en" dirty="0"/>
                <a:t>, </a:t>
              </a:r>
              <a:r>
                <a:rPr lang="en" dirty="0" err="1"/>
                <a:t>Minio</a:t>
              </a:r>
              <a:endParaRPr lang="ru-RU" dirty="0"/>
            </a:p>
          </p:txBody>
        </p:sp>
        <p:sp>
          <p:nvSpPr>
            <p:cNvPr id="47" name="Рисунок 15">
              <a:extLst>
                <a:ext uri="{FF2B5EF4-FFF2-40B4-BE49-F238E27FC236}">
                  <a16:creationId xmlns:a16="http://schemas.microsoft.com/office/drawing/2014/main" id="{7DB65B61-90EF-7F82-F6C1-6946EF9E8887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0D15D857-9DE8-5C8E-43ED-2C70FBA538E3}"/>
              </a:ext>
            </a:extLst>
          </p:cNvPr>
          <p:cNvGrpSpPr/>
          <p:nvPr/>
        </p:nvGrpSpPr>
        <p:grpSpPr>
          <a:xfrm>
            <a:off x="702653" y="5366145"/>
            <a:ext cx="5279577" cy="369332"/>
            <a:chOff x="697651" y="4284681"/>
            <a:chExt cx="5279577" cy="369332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EE5AFD7-4598-8683-B4C4-CA0896503CA8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настроили </a:t>
              </a:r>
              <a:r>
                <a:rPr lang="en" dirty="0"/>
                <a:t>ETL </a:t>
              </a:r>
              <a:r>
                <a:rPr lang="ru-RU" dirty="0"/>
                <a:t>процессы </a:t>
              </a:r>
              <a:r>
                <a:rPr lang="en" dirty="0"/>
                <a:t>HTTP-SQL-NoSQL</a:t>
              </a:r>
              <a:endParaRPr lang="ru-RU" dirty="0"/>
            </a:p>
          </p:txBody>
        </p:sp>
        <p:sp>
          <p:nvSpPr>
            <p:cNvPr id="50" name="Рисунок 15">
              <a:extLst>
                <a:ext uri="{FF2B5EF4-FFF2-40B4-BE49-F238E27FC236}">
                  <a16:creationId xmlns:a16="http://schemas.microsoft.com/office/drawing/2014/main" id="{952C6252-653F-7239-1767-1AC265FEDD6D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22891BF-4F4F-37C6-4DD9-F396DD162E1F}"/>
              </a:ext>
            </a:extLst>
          </p:cNvPr>
          <p:cNvSpPr txBox="1"/>
          <p:nvPr/>
        </p:nvSpPr>
        <p:spPr>
          <a:xfrm>
            <a:off x="584310" y="1704427"/>
            <a:ext cx="59324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</a:rPr>
              <a:t>За сегодняшний вебинар мы с вами:</a:t>
            </a: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0FA68F95-7272-23AC-99A5-6ADDD2F192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935" y="1393498"/>
            <a:ext cx="3962179" cy="3962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83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62680-3F95-E1AE-F117-E06CE18B82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qr code with a black and white background&#10;&#10;AI-generated content may be incorrect.">
            <a:extLst>
              <a:ext uri="{FF2B5EF4-FFF2-40B4-BE49-F238E27FC236}">
                <a16:creationId xmlns:a16="http://schemas.microsoft.com/office/drawing/2014/main" id="{F2C85F3F-DBB5-5810-2867-77BCFEC07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667" y="1520824"/>
            <a:ext cx="4741864" cy="4741864"/>
          </a:xfrm>
          <a:prstGeom prst="rect">
            <a:avLst/>
          </a:prstGeom>
          <a:noFill/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F025755-7250-156B-4754-824C3CF61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C0E8AB0-EA79-ED22-F666-4FCAD9719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 anchor="t">
            <a:normAutofit/>
          </a:bodyPr>
          <a:lstStyle/>
          <a:p>
            <a:r>
              <a:rPr lang="en" dirty="0"/>
              <a:t>Data Analyst Intern</a:t>
            </a:r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E540587-E4F6-ADF8-2B6E-D683BA8F9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/>
          <a:lstStyle/>
          <a:p>
            <a:pPr algn="ctr"/>
            <a:r>
              <a:rPr lang="en-US" dirty="0"/>
              <a:t>https://job.ozon.ru/vacancy/stazhyor-analitik-dannikh-marketpleis-otdel-produktovoi-analitiki-117822969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A2CC96-DE57-FF02-7E20-29536C90836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70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9AF937-C689-6C9E-0044-719B5E7F7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>
            <a:extLst>
              <a:ext uri="{FF2B5EF4-FFF2-40B4-BE49-F238E27FC236}">
                <a16:creationId xmlns:a16="http://schemas.microsoft.com/office/drawing/2014/main" id="{37E1AF45-D88A-B067-21BF-7C3541A87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4106" y="4872682"/>
            <a:ext cx="7289625" cy="1642418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Антон Шишков</a:t>
            </a:r>
          </a:p>
          <a:p>
            <a:pPr>
              <a:spcAft>
                <a:spcPts val="300"/>
              </a:spcAft>
            </a:pP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Разработчик информационных систем</a:t>
            </a:r>
          </a:p>
          <a:p>
            <a:pPr>
              <a:spcAft>
                <a:spcPts val="300"/>
              </a:spcAft>
            </a:pP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dirty="0"/>
              <a:t>ashishkov@ozon.ru / @rushawx</a:t>
            </a:r>
            <a:endParaRPr lang="ru-RU" dirty="0"/>
          </a:p>
          <a:p>
            <a:pPr>
              <a:spcAft>
                <a:spcPts val="300"/>
              </a:spcAft>
            </a:pP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215D77EC-C2A4-D5C1-6E26-7D07B76B4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6719" y="2152745"/>
            <a:ext cx="6545720" cy="2277549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1CB1EE-5B28-9E02-59B2-5097E624AC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2323" y="4765314"/>
            <a:ext cx="783205" cy="782324"/>
          </a:xfrm>
          <a:prstGeom prst="rect">
            <a:avLst/>
          </a:prstGeom>
        </p:spPr>
      </p:pic>
      <p:sp>
        <p:nvSpPr>
          <p:cNvPr id="5" name="Рисунок 10">
            <a:extLst>
              <a:ext uri="{FF2B5EF4-FFF2-40B4-BE49-F238E27FC236}">
                <a16:creationId xmlns:a16="http://schemas.microsoft.com/office/drawing/2014/main" id="{8EE29440-FB43-960D-D912-7F72F8883A18}"/>
              </a:ext>
            </a:extLst>
          </p:cNvPr>
          <p:cNvSpPr/>
          <p:nvPr/>
        </p:nvSpPr>
        <p:spPr>
          <a:xfrm>
            <a:off x="8210830" y="-375226"/>
            <a:ext cx="3084749" cy="7477819"/>
          </a:xfrm>
          <a:custGeom>
            <a:avLst/>
            <a:gdLst>
              <a:gd name="connsiteX0" fmla="*/ 0 w 3084749"/>
              <a:gd name="connsiteY0" fmla="*/ 2927310 h 7477819"/>
              <a:gd name="connsiteX1" fmla="*/ 0 w 3084749"/>
              <a:gd name="connsiteY1" fmla="*/ 2899563 h 7477819"/>
              <a:gd name="connsiteX2" fmla="*/ 0 w 3084749"/>
              <a:gd name="connsiteY2" fmla="*/ 2205887 h 7477819"/>
              <a:gd name="connsiteX3" fmla="*/ 111665 w 3084749"/>
              <a:gd name="connsiteY3" fmla="*/ 2067152 h 7477819"/>
              <a:gd name="connsiteX4" fmla="*/ 376870 w 3084749"/>
              <a:gd name="connsiteY4" fmla="*/ 2025532 h 7477819"/>
              <a:gd name="connsiteX5" fmla="*/ 1060819 w 3084749"/>
              <a:gd name="connsiteY5" fmla="*/ 1123754 h 7477819"/>
              <a:gd name="connsiteX6" fmla="*/ 1060819 w 3084749"/>
              <a:gd name="connsiteY6" fmla="*/ 138735 h 7477819"/>
              <a:gd name="connsiteX7" fmla="*/ 1186442 w 3084749"/>
              <a:gd name="connsiteY7" fmla="*/ 0 h 7477819"/>
              <a:gd name="connsiteX8" fmla="*/ 1856433 w 3084749"/>
              <a:gd name="connsiteY8" fmla="*/ 0 h 7477819"/>
              <a:gd name="connsiteX9" fmla="*/ 1982056 w 3084749"/>
              <a:gd name="connsiteY9" fmla="*/ 138735 h 7477819"/>
              <a:gd name="connsiteX10" fmla="*/ 1982056 w 3084749"/>
              <a:gd name="connsiteY10" fmla="*/ 1123754 h 7477819"/>
              <a:gd name="connsiteX11" fmla="*/ 1228317 w 3084749"/>
              <a:gd name="connsiteY11" fmla="*/ 2552725 h 7477819"/>
              <a:gd name="connsiteX12" fmla="*/ 1982056 w 3084749"/>
              <a:gd name="connsiteY12" fmla="*/ 3912329 h 7477819"/>
              <a:gd name="connsiteX13" fmla="*/ 1982056 w 3084749"/>
              <a:gd name="connsiteY13" fmla="*/ 6076596 h 7477819"/>
              <a:gd name="connsiteX14" fmla="*/ 2456633 w 3084749"/>
              <a:gd name="connsiteY14" fmla="*/ 6548295 h 7477819"/>
              <a:gd name="connsiteX15" fmla="*/ 2945168 w 3084749"/>
              <a:gd name="connsiteY15" fmla="*/ 6548295 h 7477819"/>
              <a:gd name="connsiteX16" fmla="*/ 3070792 w 3084749"/>
              <a:gd name="connsiteY16" fmla="*/ 6687030 h 7477819"/>
              <a:gd name="connsiteX17" fmla="*/ 3084750 w 3084749"/>
              <a:gd name="connsiteY17" fmla="*/ 7339085 h 7477819"/>
              <a:gd name="connsiteX18" fmla="*/ 2945168 w 3084749"/>
              <a:gd name="connsiteY18" fmla="*/ 7477820 h 7477819"/>
              <a:gd name="connsiteX19" fmla="*/ 2554340 w 3084749"/>
              <a:gd name="connsiteY19" fmla="*/ 7477820 h 7477819"/>
              <a:gd name="connsiteX20" fmla="*/ 1493521 w 3084749"/>
              <a:gd name="connsiteY20" fmla="*/ 7047741 h 7477819"/>
              <a:gd name="connsiteX21" fmla="*/ 1046861 w 3084749"/>
              <a:gd name="connsiteY21" fmla="*/ 5979481 h 7477819"/>
              <a:gd name="connsiteX22" fmla="*/ 1046861 w 3084749"/>
              <a:gd name="connsiteY22" fmla="*/ 3953949 h 7477819"/>
              <a:gd name="connsiteX23" fmla="*/ 362912 w 3084749"/>
              <a:gd name="connsiteY23" fmla="*/ 3107665 h 7477819"/>
              <a:gd name="connsiteX24" fmla="*/ 97707 w 3084749"/>
              <a:gd name="connsiteY24" fmla="*/ 3066045 h 7477819"/>
              <a:gd name="connsiteX25" fmla="*/ 0 w 3084749"/>
              <a:gd name="connsiteY25" fmla="*/ 2927310 h 7477819"/>
              <a:gd name="connsiteX26" fmla="*/ 0 w 3084749"/>
              <a:gd name="connsiteY26" fmla="*/ 2927310 h 7477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084749" h="7477819">
                <a:moveTo>
                  <a:pt x="0" y="2927310"/>
                </a:moveTo>
                <a:cubicBezTo>
                  <a:pt x="0" y="2913436"/>
                  <a:pt x="0" y="2913436"/>
                  <a:pt x="0" y="2899563"/>
                </a:cubicBezTo>
                <a:lnTo>
                  <a:pt x="0" y="2205887"/>
                </a:lnTo>
                <a:cubicBezTo>
                  <a:pt x="0" y="2136520"/>
                  <a:pt x="41874" y="2081026"/>
                  <a:pt x="111665" y="2067152"/>
                </a:cubicBezTo>
                <a:cubicBezTo>
                  <a:pt x="209372" y="2053279"/>
                  <a:pt x="334995" y="2025532"/>
                  <a:pt x="376870" y="2025532"/>
                </a:cubicBezTo>
                <a:cubicBezTo>
                  <a:pt x="530410" y="1983911"/>
                  <a:pt x="1060819" y="1859050"/>
                  <a:pt x="1060819" y="1123754"/>
                </a:cubicBezTo>
                <a:lnTo>
                  <a:pt x="1060819" y="138735"/>
                </a:lnTo>
                <a:cubicBezTo>
                  <a:pt x="1060819" y="69368"/>
                  <a:pt x="1116652" y="0"/>
                  <a:pt x="1186442" y="0"/>
                </a:cubicBezTo>
                <a:lnTo>
                  <a:pt x="1856433" y="0"/>
                </a:lnTo>
                <a:cubicBezTo>
                  <a:pt x="1940182" y="0"/>
                  <a:pt x="1982056" y="55494"/>
                  <a:pt x="1982056" y="138735"/>
                </a:cubicBezTo>
                <a:lnTo>
                  <a:pt x="1982056" y="1123754"/>
                </a:lnTo>
                <a:cubicBezTo>
                  <a:pt x="1982056" y="2122647"/>
                  <a:pt x="1270191" y="2524978"/>
                  <a:pt x="1228317" y="2552725"/>
                </a:cubicBezTo>
                <a:cubicBezTo>
                  <a:pt x="1270191" y="2580472"/>
                  <a:pt x="1954140" y="2955057"/>
                  <a:pt x="1982056" y="3912329"/>
                </a:cubicBezTo>
                <a:cubicBezTo>
                  <a:pt x="1982056" y="3940076"/>
                  <a:pt x="1982056" y="5604897"/>
                  <a:pt x="1982056" y="6076596"/>
                </a:cubicBezTo>
                <a:cubicBezTo>
                  <a:pt x="1982056" y="6340192"/>
                  <a:pt x="2205387" y="6548295"/>
                  <a:pt x="2456633" y="6548295"/>
                </a:cubicBezTo>
                <a:cubicBezTo>
                  <a:pt x="2638089" y="6548295"/>
                  <a:pt x="2819545" y="6548295"/>
                  <a:pt x="2945168" y="6548295"/>
                </a:cubicBezTo>
                <a:cubicBezTo>
                  <a:pt x="3014959" y="6548295"/>
                  <a:pt x="3070792" y="6617662"/>
                  <a:pt x="3070792" y="6687030"/>
                </a:cubicBezTo>
                <a:cubicBezTo>
                  <a:pt x="3070792" y="6867386"/>
                  <a:pt x="3084750" y="7089362"/>
                  <a:pt x="3084750" y="7339085"/>
                </a:cubicBezTo>
                <a:cubicBezTo>
                  <a:pt x="3084750" y="7422326"/>
                  <a:pt x="3014959" y="7477820"/>
                  <a:pt x="2945168" y="7477820"/>
                </a:cubicBezTo>
                <a:lnTo>
                  <a:pt x="2554340" y="7477820"/>
                </a:lnTo>
                <a:cubicBezTo>
                  <a:pt x="2163512" y="7477820"/>
                  <a:pt x="1772684" y="7325211"/>
                  <a:pt x="1493521" y="7047741"/>
                </a:cubicBezTo>
                <a:cubicBezTo>
                  <a:pt x="1200400" y="6770271"/>
                  <a:pt x="1046861" y="6381813"/>
                  <a:pt x="1046861" y="5979481"/>
                </a:cubicBezTo>
                <a:cubicBezTo>
                  <a:pt x="1046861" y="5979481"/>
                  <a:pt x="1046861" y="3967823"/>
                  <a:pt x="1046861" y="3953949"/>
                </a:cubicBezTo>
                <a:cubicBezTo>
                  <a:pt x="1032903" y="3260274"/>
                  <a:pt x="516451" y="3149286"/>
                  <a:pt x="362912" y="3107665"/>
                </a:cubicBezTo>
                <a:cubicBezTo>
                  <a:pt x="321037" y="3093792"/>
                  <a:pt x="195414" y="3079918"/>
                  <a:pt x="97707" y="3066045"/>
                </a:cubicBezTo>
                <a:cubicBezTo>
                  <a:pt x="27916" y="3066045"/>
                  <a:pt x="0" y="2996677"/>
                  <a:pt x="0" y="2927310"/>
                </a:cubicBezTo>
                <a:lnTo>
                  <a:pt x="0" y="2927310"/>
                </a:lnTo>
                <a:close/>
              </a:path>
            </a:pathLst>
          </a:custGeom>
          <a:solidFill>
            <a:srgbClr val="3ADF68"/>
          </a:solidFill>
          <a:ln w="1512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26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04F70DA-1191-0B15-C6DB-438D05471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27655AFB-1A5E-8C36-7AC0-F10F6574962D}"/>
              </a:ext>
            </a:extLst>
          </p:cNvPr>
          <p:cNvSpPr/>
          <p:nvPr/>
        </p:nvSpPr>
        <p:spPr>
          <a:xfrm>
            <a:off x="639762" y="1413190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то такое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8E60C83-2E1E-1321-1FDF-D143C639B146}"/>
              </a:ext>
            </a:extLst>
          </p:cNvPr>
          <p:cNvSpPr/>
          <p:nvPr/>
        </p:nvSpPr>
        <p:spPr>
          <a:xfrm>
            <a:off x="639762" y="2180329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то такое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5963D1D7-D62B-AFF3-B2FC-A9B67DCDB08F}"/>
              </a:ext>
            </a:extLst>
          </p:cNvPr>
          <p:cNvSpPr/>
          <p:nvPr/>
        </p:nvSpPr>
        <p:spPr>
          <a:xfrm>
            <a:off x="639762" y="2947468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рхитектура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59A3102-C206-2782-DAFB-1FBEC1896816}"/>
              </a:ext>
            </a:extLst>
          </p:cNvPr>
          <p:cNvSpPr/>
          <p:nvPr/>
        </p:nvSpPr>
        <p:spPr>
          <a:xfrm>
            <a:off x="639762" y="3714607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готовка окружения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6579BE37-8A4A-F10D-F544-DF3C55C5C409}"/>
              </a:ext>
            </a:extLst>
          </p:cNvPr>
          <p:cNvSpPr/>
          <p:nvPr/>
        </p:nvSpPr>
        <p:spPr>
          <a:xfrm>
            <a:off x="639762" y="4481746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приложения на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API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464605E-F3C8-2367-CB11-E365A2E43C63}"/>
              </a:ext>
            </a:extLst>
          </p:cNvPr>
          <p:cNvSpPr/>
          <p:nvPr/>
        </p:nvSpPr>
        <p:spPr>
          <a:xfrm>
            <a:off x="639762" y="5248886"/>
            <a:ext cx="5299718" cy="804572"/>
          </a:xfrm>
          <a:prstGeom prst="roundRect">
            <a:avLst>
              <a:gd name="adj" fmla="val 19167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здание инстансов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gres, 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house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o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6C9491-E853-7EDA-31D3-3D372986B46D}"/>
              </a:ext>
            </a:extLst>
          </p:cNvPr>
          <p:cNvSpPr txBox="1"/>
          <p:nvPr/>
        </p:nvSpPr>
        <p:spPr>
          <a:xfrm>
            <a:off x="639763" y="274743"/>
            <a:ext cx="6579184" cy="8229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25000"/>
                    <a:lumOff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25000"/>
                  <a:lumOff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Рисунок 15">
            <a:extLst>
              <a:ext uri="{FF2B5EF4-FFF2-40B4-BE49-F238E27FC236}">
                <a16:creationId xmlns:a16="http://schemas.microsoft.com/office/drawing/2014/main" id="{6C516DC3-F289-A4A4-9868-A4D14623778A}"/>
              </a:ext>
            </a:extLst>
          </p:cNvPr>
          <p:cNvSpPr/>
          <p:nvPr/>
        </p:nvSpPr>
        <p:spPr>
          <a:xfrm rot="5400000">
            <a:off x="5494801" y="1580633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0FF3959-4AA5-42C6-89F9-1D2E6E3EF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Рисунок 15">
            <a:extLst>
              <a:ext uri="{FF2B5EF4-FFF2-40B4-BE49-F238E27FC236}">
                <a16:creationId xmlns:a16="http://schemas.microsoft.com/office/drawing/2014/main" id="{B9E8CDD0-48F8-FA54-5851-34BE01E12FDE}"/>
              </a:ext>
            </a:extLst>
          </p:cNvPr>
          <p:cNvSpPr/>
          <p:nvPr/>
        </p:nvSpPr>
        <p:spPr>
          <a:xfrm rot="5400000">
            <a:off x="5494801" y="2347772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Рисунок 15">
            <a:extLst>
              <a:ext uri="{FF2B5EF4-FFF2-40B4-BE49-F238E27FC236}">
                <a16:creationId xmlns:a16="http://schemas.microsoft.com/office/drawing/2014/main" id="{98917CA2-B25F-FCF0-7A04-99F98F55E702}"/>
              </a:ext>
            </a:extLst>
          </p:cNvPr>
          <p:cNvSpPr/>
          <p:nvPr/>
        </p:nvSpPr>
        <p:spPr>
          <a:xfrm rot="5400000">
            <a:off x="5494801" y="3114911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Рисунок 15">
            <a:extLst>
              <a:ext uri="{FF2B5EF4-FFF2-40B4-BE49-F238E27FC236}">
                <a16:creationId xmlns:a16="http://schemas.microsoft.com/office/drawing/2014/main" id="{80231280-FDE1-710E-1925-9A06384C61E2}"/>
              </a:ext>
            </a:extLst>
          </p:cNvPr>
          <p:cNvSpPr/>
          <p:nvPr/>
        </p:nvSpPr>
        <p:spPr>
          <a:xfrm rot="5400000">
            <a:off x="5494801" y="3882050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Рисунок 15">
            <a:extLst>
              <a:ext uri="{FF2B5EF4-FFF2-40B4-BE49-F238E27FC236}">
                <a16:creationId xmlns:a16="http://schemas.microsoft.com/office/drawing/2014/main" id="{D6202B59-C6C3-059B-D3F1-C849FF6DB169}"/>
              </a:ext>
            </a:extLst>
          </p:cNvPr>
          <p:cNvSpPr/>
          <p:nvPr/>
        </p:nvSpPr>
        <p:spPr>
          <a:xfrm rot="5400000">
            <a:off x="5494801" y="4649189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D288B-9F5D-62EA-4A22-E0416605E7F6}"/>
              </a:ext>
            </a:extLst>
          </p:cNvPr>
          <p:cNvSpPr/>
          <p:nvPr/>
        </p:nvSpPr>
        <p:spPr>
          <a:xfrm rot="5400000">
            <a:off x="5494801" y="5509614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Прямоугольник: скругленные углы 2">
            <a:extLst>
              <a:ext uri="{FF2B5EF4-FFF2-40B4-BE49-F238E27FC236}">
                <a16:creationId xmlns:a16="http://schemas.microsoft.com/office/drawing/2014/main" id="{53612E43-95AD-AEA2-9533-52F8365B5494}"/>
              </a:ext>
            </a:extLst>
          </p:cNvPr>
          <p:cNvSpPr/>
          <p:nvPr/>
        </p:nvSpPr>
        <p:spPr>
          <a:xfrm>
            <a:off x="6252520" y="1413982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смотрение базовых концепций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Прямоугольник: скругленные углы 3">
            <a:extLst>
              <a:ext uri="{FF2B5EF4-FFF2-40B4-BE49-F238E27FC236}">
                <a16:creationId xmlns:a16="http://schemas.microsoft.com/office/drawing/2014/main" id="{A5DE90BA-78A8-B83E-8186-6634F98581A3}"/>
              </a:ext>
            </a:extLst>
          </p:cNvPr>
          <p:cNvSpPr/>
          <p:nvPr/>
        </p:nvSpPr>
        <p:spPr>
          <a:xfrm>
            <a:off x="6252520" y="2181121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базового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4">
            <a:extLst>
              <a:ext uri="{FF2B5EF4-FFF2-40B4-BE49-F238E27FC236}">
                <a16:creationId xmlns:a16="http://schemas.microsoft.com/office/drawing/2014/main" id="{916BEF53-0667-CC63-B91C-1F30D9F47E03}"/>
              </a:ext>
            </a:extLst>
          </p:cNvPr>
          <p:cNvSpPr/>
          <p:nvPr/>
        </p:nvSpPr>
        <p:spPr>
          <a:xfrm>
            <a:off x="6252520" y="2948260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продвинутого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Рисунок 15">
            <a:extLst>
              <a:ext uri="{FF2B5EF4-FFF2-40B4-BE49-F238E27FC236}">
                <a16:creationId xmlns:a16="http://schemas.microsoft.com/office/drawing/2014/main" id="{1D4C81A9-7E59-C0D2-50AC-2C42CED396CA}"/>
              </a:ext>
            </a:extLst>
          </p:cNvPr>
          <p:cNvSpPr/>
          <p:nvPr/>
        </p:nvSpPr>
        <p:spPr>
          <a:xfrm rot="5400000">
            <a:off x="11107559" y="1581425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Рисунок 15">
            <a:extLst>
              <a:ext uri="{FF2B5EF4-FFF2-40B4-BE49-F238E27FC236}">
                <a16:creationId xmlns:a16="http://schemas.microsoft.com/office/drawing/2014/main" id="{3B264B3B-AEEA-1939-08A5-1463075D06A0}"/>
              </a:ext>
            </a:extLst>
          </p:cNvPr>
          <p:cNvSpPr/>
          <p:nvPr/>
        </p:nvSpPr>
        <p:spPr>
          <a:xfrm rot="5400000">
            <a:off x="11107559" y="2348564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Рисунок 15">
            <a:extLst>
              <a:ext uri="{FF2B5EF4-FFF2-40B4-BE49-F238E27FC236}">
                <a16:creationId xmlns:a16="http://schemas.microsoft.com/office/drawing/2014/main" id="{E9A6F200-9716-57E7-88BC-0C59D11254B9}"/>
              </a:ext>
            </a:extLst>
          </p:cNvPr>
          <p:cNvSpPr/>
          <p:nvPr/>
        </p:nvSpPr>
        <p:spPr>
          <a:xfrm rot="5400000">
            <a:off x="11107559" y="3115703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470B31A-EAC6-8632-E13C-EFEED4C4F0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6104" y="3268871"/>
            <a:ext cx="4417670" cy="4417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81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4BA4F73-9F35-5CFF-9E28-807E5340255F}"/>
              </a:ext>
            </a:extLst>
          </p:cNvPr>
          <p:cNvSpPr/>
          <p:nvPr/>
        </p:nvSpPr>
        <p:spPr>
          <a:xfrm>
            <a:off x="639764" y="1330082"/>
            <a:ext cx="10925180" cy="2524466"/>
          </a:xfrm>
          <a:prstGeom prst="roundRect">
            <a:avLst>
              <a:gd name="adj" fmla="val 88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7BE06F6-59AB-8EA1-6BAD-386EEB590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8FECDDA-DD91-DAFE-051A-3CAE9243B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</a:t>
            </a:r>
            <a:r>
              <a:rPr lang="en" dirty="0"/>
              <a:t>Airflow</a:t>
            </a:r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BE73304-7D61-4A47-23D2-194E36CA6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8864322" cy="144500"/>
          </a:xfrm>
        </p:spPr>
        <p:txBody>
          <a:bodyPr/>
          <a:lstStyle/>
          <a:p>
            <a:r>
              <a:rPr lang="ru-RU" dirty="0" err="1"/>
              <a:t>Харенслак</a:t>
            </a:r>
            <a:r>
              <a:rPr lang="ru-RU" dirty="0"/>
              <a:t> Б., де </a:t>
            </a:r>
            <a:r>
              <a:rPr lang="ru-RU" dirty="0" err="1"/>
              <a:t>Руйтер</a:t>
            </a:r>
            <a:r>
              <a:rPr lang="ru-RU" dirty="0"/>
              <a:t> Дж. </a:t>
            </a:r>
            <a:r>
              <a:rPr lang="en" dirty="0"/>
              <a:t>Apache Airflow </a:t>
            </a:r>
            <a:r>
              <a:rPr lang="ru-RU" dirty="0"/>
              <a:t>и конвейеры обработки данных / пер. с англ. Д. А. Беликова. –М.: ДМК Пресс, 2021. – 502 с.</a:t>
            </a:r>
          </a:p>
        </p:txBody>
      </p:sp>
      <p:sp>
        <p:nvSpPr>
          <p:cNvPr id="6" name="Заголовок 3">
            <a:extLst>
              <a:ext uri="{FF2B5EF4-FFF2-40B4-BE49-F238E27FC236}">
                <a16:creationId xmlns:a16="http://schemas.microsoft.com/office/drawing/2014/main" id="{B737DE59-A2CD-B4F5-DF67-5B1F13F342A0}"/>
              </a:ext>
            </a:extLst>
          </p:cNvPr>
          <p:cNvSpPr txBox="1">
            <a:spLocks/>
          </p:cNvSpPr>
          <p:nvPr/>
        </p:nvSpPr>
        <p:spPr>
          <a:xfrm>
            <a:off x="3479228" y="1821045"/>
            <a:ext cx="3299190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spc="-3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" sz="4800" b="1" dirty="0">
                <a:solidFill>
                  <a:schemeClr val="accent1"/>
                </a:solidFill>
              </a:rPr>
              <a:t>Airflow</a:t>
            </a:r>
            <a:r>
              <a:rPr lang="ru-RU" sz="4800" b="1" dirty="0">
                <a:solidFill>
                  <a:schemeClr val="accent1"/>
                </a:solidFill>
              </a:rPr>
              <a:t> –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CEB32B-8DBA-9A1C-D06F-BE979A09C443}"/>
              </a:ext>
            </a:extLst>
          </p:cNvPr>
          <p:cNvSpPr txBox="1"/>
          <p:nvPr/>
        </p:nvSpPr>
        <p:spPr>
          <a:xfrm>
            <a:off x="3350250" y="2541780"/>
            <a:ext cx="71949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фреймворк для построения конвейеров обработки данных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52788267-A0BE-E51A-2697-B3AF58EDAD9D}"/>
              </a:ext>
            </a:extLst>
          </p:cNvPr>
          <p:cNvSpPr/>
          <p:nvPr/>
        </p:nvSpPr>
        <p:spPr>
          <a:xfrm>
            <a:off x="834367" y="1532318"/>
            <a:ext cx="2133915" cy="2133915"/>
          </a:xfrm>
          <a:prstGeom prst="roundRect">
            <a:avLst>
              <a:gd name="adj" fmla="val 62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8CA4F50-73D4-C606-4303-C5058EDE79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04"/>
          <a:stretch/>
        </p:blipFill>
        <p:spPr>
          <a:xfrm>
            <a:off x="1198206" y="1925073"/>
            <a:ext cx="1357387" cy="1289686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8FA540E-85E3-AA78-30E6-18EE2C66A54B}"/>
              </a:ext>
            </a:extLst>
          </p:cNvPr>
          <p:cNvGrpSpPr/>
          <p:nvPr/>
        </p:nvGrpSpPr>
        <p:grpSpPr>
          <a:xfrm>
            <a:off x="697652" y="4293307"/>
            <a:ext cx="11001682" cy="523220"/>
            <a:chOff x="697652" y="4293307"/>
            <a:chExt cx="11001682" cy="52322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3EBD199-5070-A26B-F2E7-4F3D95589EED}"/>
                </a:ext>
              </a:extLst>
            </p:cNvPr>
            <p:cNvSpPr txBox="1"/>
            <p:nvPr/>
          </p:nvSpPr>
          <p:spPr>
            <a:xfrm>
              <a:off x="983049" y="4293307"/>
              <a:ext cx="1071628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/>
                <a:t>Ключевая особенность </a:t>
              </a:r>
              <a:r>
                <a:rPr lang="en" sz="1400" dirty="0"/>
                <a:t>Airflow </a:t>
              </a:r>
              <a:r>
                <a:rPr lang="ru-RU" sz="1400" dirty="0"/>
                <a:t>заключается в том, что он позволяет </a:t>
              </a:r>
              <a:r>
                <a:rPr lang="ru-RU" sz="1400" b="1" dirty="0"/>
                <a:t>легко создавать конвейеры обработки данных</a:t>
              </a:r>
              <a:r>
                <a:rPr lang="ru-RU" sz="1400" dirty="0"/>
                <a:t>, запускаемых по расписанию, с использованием гибкой платформы </a:t>
              </a:r>
              <a:r>
                <a:rPr lang="en" sz="1400" dirty="0"/>
                <a:t>Python</a:t>
              </a:r>
              <a:endParaRPr lang="ru-RU" sz="1400" dirty="0"/>
            </a:p>
          </p:txBody>
        </p:sp>
        <p:sp>
          <p:nvSpPr>
            <p:cNvPr id="15" name="Рисунок 15">
              <a:extLst>
                <a:ext uri="{FF2B5EF4-FFF2-40B4-BE49-F238E27FC236}">
                  <a16:creationId xmlns:a16="http://schemas.microsoft.com/office/drawing/2014/main" id="{4BB36132-C49F-CE9B-C501-619BB2C4FD10}"/>
                </a:ext>
              </a:extLst>
            </p:cNvPr>
            <p:cNvSpPr/>
            <p:nvPr/>
          </p:nvSpPr>
          <p:spPr>
            <a:xfrm rot="5400000">
              <a:off x="697660" y="4359565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8328D71-A69D-A217-FAD1-A8DC0475F6C6}"/>
              </a:ext>
            </a:extLst>
          </p:cNvPr>
          <p:cNvGrpSpPr/>
          <p:nvPr/>
        </p:nvGrpSpPr>
        <p:grpSpPr>
          <a:xfrm>
            <a:off x="697652" y="5128859"/>
            <a:ext cx="11001682" cy="523220"/>
            <a:chOff x="697652" y="5128859"/>
            <a:chExt cx="11001682" cy="52322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CD2E4B8-C64B-570F-3356-97D15711B9AF}"/>
                </a:ext>
              </a:extLst>
            </p:cNvPr>
            <p:cNvSpPr txBox="1"/>
            <p:nvPr/>
          </p:nvSpPr>
          <p:spPr>
            <a:xfrm>
              <a:off x="983049" y="5128859"/>
              <a:ext cx="1071628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/>
                <a:t>А также предоставляет </a:t>
              </a:r>
              <a:r>
                <a:rPr lang="ru-RU" sz="1400" b="1" dirty="0"/>
                <a:t>множество строительных блоков</a:t>
              </a:r>
              <a:r>
                <a:rPr lang="ru-RU" sz="1400" dirty="0"/>
                <a:t>, которые позволяют объединить огромное количество различных технологий, встречающихся в современных технологических ландшафтах</a:t>
              </a:r>
            </a:p>
          </p:txBody>
        </p:sp>
        <p:sp>
          <p:nvSpPr>
            <p:cNvPr id="17" name="Рисунок 15">
              <a:extLst>
                <a:ext uri="{FF2B5EF4-FFF2-40B4-BE49-F238E27FC236}">
                  <a16:creationId xmlns:a16="http://schemas.microsoft.com/office/drawing/2014/main" id="{D1FB0623-B5CF-6009-70D1-BD077F5EA0D2}"/>
                </a:ext>
              </a:extLst>
            </p:cNvPr>
            <p:cNvSpPr/>
            <p:nvPr/>
          </p:nvSpPr>
          <p:spPr>
            <a:xfrm rot="5400000">
              <a:off x="697660" y="5195117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49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Скругленный прямоугольник 53">
            <a:extLst>
              <a:ext uri="{FF2B5EF4-FFF2-40B4-BE49-F238E27FC236}">
                <a16:creationId xmlns:a16="http://schemas.microsoft.com/office/drawing/2014/main" id="{68576BAA-2C04-6664-4B6A-FA395DBF6CC8}"/>
              </a:ext>
            </a:extLst>
          </p:cNvPr>
          <p:cNvSpPr/>
          <p:nvPr/>
        </p:nvSpPr>
        <p:spPr>
          <a:xfrm>
            <a:off x="639764" y="3663454"/>
            <a:ext cx="6510336" cy="2342792"/>
          </a:xfrm>
          <a:prstGeom prst="roundRect">
            <a:avLst>
              <a:gd name="adj" fmla="val 10690"/>
            </a:avLst>
          </a:prstGeom>
          <a:solidFill>
            <a:srgbClr val="B7E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9611BB0-D9F8-0B0E-389B-E14232BDD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954DA8-C27A-E64A-AFDC-88227B8EE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</a:t>
            </a:r>
            <a:r>
              <a:rPr lang="en" dirty="0"/>
              <a:t>DAG</a:t>
            </a:r>
            <a:endParaRPr lang="ru-RU" dirty="0"/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B07001F9-485F-3E14-45EC-EC71E9861436}"/>
              </a:ext>
            </a:extLst>
          </p:cNvPr>
          <p:cNvSpPr/>
          <p:nvPr/>
        </p:nvSpPr>
        <p:spPr>
          <a:xfrm>
            <a:off x="639764" y="1330082"/>
            <a:ext cx="10925180" cy="2098918"/>
          </a:xfrm>
          <a:prstGeom prst="roundRect">
            <a:avLst>
              <a:gd name="adj" fmla="val 1069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Заголовок 3">
            <a:extLst>
              <a:ext uri="{FF2B5EF4-FFF2-40B4-BE49-F238E27FC236}">
                <a16:creationId xmlns:a16="http://schemas.microsoft.com/office/drawing/2014/main" id="{8D95BC32-D3D1-F0B8-A107-2795A180E4DE}"/>
              </a:ext>
            </a:extLst>
          </p:cNvPr>
          <p:cNvSpPr txBox="1">
            <a:spLocks/>
          </p:cNvSpPr>
          <p:nvPr/>
        </p:nvSpPr>
        <p:spPr>
          <a:xfrm>
            <a:off x="1238303" y="1811283"/>
            <a:ext cx="9940559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spc="-3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chemeClr val="accent1"/>
                </a:solidFill>
              </a:rPr>
              <a:t>Ориентированный ациклический граф (</a:t>
            </a:r>
            <a:r>
              <a:rPr lang="en" b="1" dirty="0">
                <a:solidFill>
                  <a:schemeClr val="accent1"/>
                </a:solidFill>
              </a:rPr>
              <a:t>DAG)</a:t>
            </a:r>
            <a:r>
              <a:rPr lang="ru-RU" b="1" dirty="0">
                <a:solidFill>
                  <a:schemeClr val="accent1"/>
                </a:solidFill>
              </a:rPr>
              <a:t> –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DF868B-9E58-F601-8196-BF29F2C72D93}"/>
              </a:ext>
            </a:extLst>
          </p:cNvPr>
          <p:cNvSpPr txBox="1"/>
          <p:nvPr/>
        </p:nvSpPr>
        <p:spPr>
          <a:xfrm>
            <a:off x="1135084" y="2320370"/>
            <a:ext cx="8846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это основная концепция </a:t>
            </a:r>
            <a:r>
              <a:rPr lang="en" dirty="0"/>
              <a:t>Airflow, </a:t>
            </a:r>
            <a:r>
              <a:rPr lang="ru-RU" dirty="0"/>
              <a:t>объединяющая задачи вместе, организованные с зависимостями и связями, чтобы определить, как они должны выполняться</a:t>
            </a: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D2BF36AB-0571-AD52-0064-E840CE9C7C95}"/>
              </a:ext>
            </a:extLst>
          </p:cNvPr>
          <p:cNvGrpSpPr/>
          <p:nvPr/>
        </p:nvGrpSpPr>
        <p:grpSpPr>
          <a:xfrm>
            <a:off x="814815" y="4071686"/>
            <a:ext cx="6160234" cy="1526327"/>
            <a:chOff x="697335" y="4001591"/>
            <a:chExt cx="6160234" cy="152632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64AB1129-C13B-1CC1-75B6-AF93435DC026}"/>
                </a:ext>
              </a:extLst>
            </p:cNvPr>
            <p:cNvGrpSpPr/>
            <p:nvPr/>
          </p:nvGrpSpPr>
          <p:grpSpPr>
            <a:xfrm>
              <a:off x="697335" y="4001591"/>
              <a:ext cx="1849464" cy="685585"/>
              <a:chOff x="702590" y="5042115"/>
              <a:chExt cx="1849464" cy="685585"/>
            </a:xfrm>
          </p:grpSpPr>
          <p:sp>
            <p:nvSpPr>
              <p:cNvPr id="10" name="Скругленный прямоугольник 9">
                <a:extLst>
                  <a:ext uri="{FF2B5EF4-FFF2-40B4-BE49-F238E27FC236}">
                    <a16:creationId xmlns:a16="http://schemas.microsoft.com/office/drawing/2014/main" id="{719373FC-2CEE-51F5-EA68-68123B3313CE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7D7D053-3C98-8654-40D0-BB8B19F3CB5B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a</a:t>
                </a:r>
                <a:endParaRPr lang="ru-RU" sz="1100" b="1" dirty="0" err="1"/>
              </a:p>
            </p:txBody>
          </p:sp>
          <p:grpSp>
            <p:nvGrpSpPr>
              <p:cNvPr id="14" name="Группа 13">
                <a:extLst>
                  <a:ext uri="{FF2B5EF4-FFF2-40B4-BE49-F238E27FC236}">
                    <a16:creationId xmlns:a16="http://schemas.microsoft.com/office/drawing/2014/main" id="{44D8A80F-0458-AE42-5A5E-F86183268079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F78B959B-660A-EF1D-810E-BB6C41E30361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13" name="Скругленный прямоугольник 12">
                  <a:extLst>
                    <a:ext uri="{FF2B5EF4-FFF2-40B4-BE49-F238E27FC236}">
                      <a16:creationId xmlns:a16="http://schemas.microsoft.com/office/drawing/2014/main" id="{F716E527-B6F7-2F6E-5913-085308B60D6B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7A97290-B7E9-066C-5142-8B7AC4E61D51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id="{5AF04BAB-AEB8-30DF-7F44-58EF23886CAA}"/>
                </a:ext>
              </a:extLst>
            </p:cNvPr>
            <p:cNvGrpSpPr/>
            <p:nvPr/>
          </p:nvGrpSpPr>
          <p:grpSpPr>
            <a:xfrm>
              <a:off x="2852720" y="4001591"/>
              <a:ext cx="1849464" cy="685585"/>
              <a:chOff x="702590" y="5042115"/>
              <a:chExt cx="1849464" cy="685585"/>
            </a:xfrm>
          </p:grpSpPr>
          <p:sp>
            <p:nvSpPr>
              <p:cNvPr id="18" name="Скругленный прямоугольник 17">
                <a:extLst>
                  <a:ext uri="{FF2B5EF4-FFF2-40B4-BE49-F238E27FC236}">
                    <a16:creationId xmlns:a16="http://schemas.microsoft.com/office/drawing/2014/main" id="{A9236DFF-2448-2E65-AB4B-377EBBE10ED1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90A5E93-25FD-B9CD-CAB2-9D38E84AC5F3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c</a:t>
                </a:r>
                <a:endParaRPr lang="ru-RU" sz="1100" b="1" dirty="0" err="1"/>
              </a:p>
            </p:txBody>
          </p:sp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DBE325DC-2364-285C-3849-69FCED4E918B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403BDA3F-4126-C585-09A3-BE2E25E9B56D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23" name="Скругленный прямоугольник 22">
                  <a:extLst>
                    <a:ext uri="{FF2B5EF4-FFF2-40B4-BE49-F238E27FC236}">
                      <a16:creationId xmlns:a16="http://schemas.microsoft.com/office/drawing/2014/main" id="{D3EF20C4-5176-1FDD-7279-B18891CFAC34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C5D78BA-89AF-AE80-865C-88553FC62FC7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A1A7BEB9-CD3C-4D3C-28DD-116113B48579}"/>
                </a:ext>
              </a:extLst>
            </p:cNvPr>
            <p:cNvGrpSpPr/>
            <p:nvPr/>
          </p:nvGrpSpPr>
          <p:grpSpPr>
            <a:xfrm>
              <a:off x="5008105" y="4001591"/>
              <a:ext cx="1849464" cy="685585"/>
              <a:chOff x="702590" y="5042115"/>
              <a:chExt cx="1849464" cy="685585"/>
            </a:xfrm>
          </p:grpSpPr>
          <p:sp>
            <p:nvSpPr>
              <p:cNvPr id="25" name="Скругленный прямоугольник 24">
                <a:extLst>
                  <a:ext uri="{FF2B5EF4-FFF2-40B4-BE49-F238E27FC236}">
                    <a16:creationId xmlns:a16="http://schemas.microsoft.com/office/drawing/2014/main" id="{4F461721-0593-D62F-5B2F-C23823660F01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962B425-5F77-2A74-DDA5-B7822E339F7E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d</a:t>
                </a:r>
                <a:endParaRPr lang="ru-RU" sz="1100" b="1" dirty="0" err="1"/>
              </a:p>
            </p:txBody>
          </p:sp>
          <p:grpSp>
            <p:nvGrpSpPr>
              <p:cNvPr id="27" name="Группа 26">
                <a:extLst>
                  <a:ext uri="{FF2B5EF4-FFF2-40B4-BE49-F238E27FC236}">
                    <a16:creationId xmlns:a16="http://schemas.microsoft.com/office/drawing/2014/main" id="{131F3BE3-A5DA-6A3E-AE88-163A89DC6005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A30383BD-604A-E793-8F6E-7901D4A99439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30" name="Скругленный прямоугольник 29">
                  <a:extLst>
                    <a:ext uri="{FF2B5EF4-FFF2-40B4-BE49-F238E27FC236}">
                      <a16:creationId xmlns:a16="http://schemas.microsoft.com/office/drawing/2014/main" id="{30F33F1A-248B-AA93-8AED-1A30A6C5D660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0A1F5A77-E4F8-7AE8-EF95-5800DF2CF4F5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01A2985F-71A9-4B40-3823-6C1E9507311C}"/>
                </a:ext>
              </a:extLst>
            </p:cNvPr>
            <p:cNvGrpSpPr/>
            <p:nvPr/>
          </p:nvGrpSpPr>
          <p:grpSpPr>
            <a:xfrm>
              <a:off x="2852720" y="4842333"/>
              <a:ext cx="1849464" cy="685585"/>
              <a:chOff x="702590" y="5042115"/>
              <a:chExt cx="1849464" cy="685585"/>
            </a:xfrm>
          </p:grpSpPr>
          <p:sp>
            <p:nvSpPr>
              <p:cNvPr id="32" name="Скругленный прямоугольник 31">
                <a:extLst>
                  <a:ext uri="{FF2B5EF4-FFF2-40B4-BE49-F238E27FC236}">
                    <a16:creationId xmlns:a16="http://schemas.microsoft.com/office/drawing/2014/main" id="{CF3B8103-9FD1-6D12-A7D5-E1CD3B5DCFE2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F03BB74-24FC-C5B2-0EF6-198C2494A593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b</a:t>
                </a:r>
                <a:endParaRPr lang="ru-RU" sz="1100" b="1" dirty="0" err="1"/>
              </a:p>
            </p:txBody>
          </p:sp>
          <p:grpSp>
            <p:nvGrpSpPr>
              <p:cNvPr id="34" name="Группа 33">
                <a:extLst>
                  <a:ext uri="{FF2B5EF4-FFF2-40B4-BE49-F238E27FC236}">
                    <a16:creationId xmlns:a16="http://schemas.microsoft.com/office/drawing/2014/main" id="{D03FD7C0-3C66-C43F-B8D9-BE5BA1B9693E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CE3967A0-B189-F60E-D39A-CC923EDBB258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37" name="Скругленный прямоугольник 36">
                  <a:extLst>
                    <a:ext uri="{FF2B5EF4-FFF2-40B4-BE49-F238E27FC236}">
                      <a16:creationId xmlns:a16="http://schemas.microsoft.com/office/drawing/2014/main" id="{3C16E0A3-377B-2B88-92B7-C2944CD12E2E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56846BC-2F47-139D-3738-7B11E35A474C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44EC0238-5DD4-4576-A88A-BD7BC4C8544A}"/>
                </a:ext>
              </a:extLst>
            </p:cNvPr>
            <p:cNvCxnSpPr>
              <a:cxnSpLocks/>
            </p:cNvCxnSpPr>
            <p:nvPr/>
          </p:nvCxnSpPr>
          <p:spPr>
            <a:xfrm>
              <a:off x="2546799" y="4225344"/>
              <a:ext cx="305921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3AAF1C14-4821-F42B-4D88-FC5D9D424538}"/>
                </a:ext>
              </a:extLst>
            </p:cNvPr>
            <p:cNvCxnSpPr>
              <a:cxnSpLocks/>
            </p:cNvCxnSpPr>
            <p:nvPr/>
          </p:nvCxnSpPr>
          <p:spPr>
            <a:xfrm>
              <a:off x="4702184" y="4225344"/>
              <a:ext cx="305921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4C5DB0DC-BEE0-E522-F2AB-94215701F663}"/>
                </a:ext>
              </a:extLst>
            </p:cNvPr>
            <p:cNvGrpSpPr/>
            <p:nvPr/>
          </p:nvGrpSpPr>
          <p:grpSpPr>
            <a:xfrm>
              <a:off x="2553400" y="4434354"/>
              <a:ext cx="299320" cy="757373"/>
              <a:chOff x="2553400" y="4434354"/>
              <a:chExt cx="299320" cy="757373"/>
            </a:xfrm>
          </p:grpSpPr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id="{94D86CC8-D55E-6B82-2A00-7EF823632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3400" y="4434354"/>
                <a:ext cx="15296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CAEC23D7-89FA-DB13-000B-1B019CBAC0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4869" y="5185125"/>
                <a:ext cx="15785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FBE5B5BE-4564-572B-AF7E-B4A9107A5B1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98170" y="4435091"/>
                <a:ext cx="0" cy="756636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3843523E-A732-EF12-A29A-9908F03E36CD}"/>
                </a:ext>
              </a:extLst>
            </p:cNvPr>
            <p:cNvGrpSpPr/>
            <p:nvPr/>
          </p:nvGrpSpPr>
          <p:grpSpPr>
            <a:xfrm flipH="1">
              <a:off x="4705484" y="4434722"/>
              <a:ext cx="299320" cy="757373"/>
              <a:chOff x="2553400" y="4434354"/>
              <a:chExt cx="299320" cy="757373"/>
            </a:xfrm>
          </p:grpSpPr>
          <p:cxnSp>
            <p:nvCxnSpPr>
              <p:cNvPr id="50" name="Прямая соединительная линия 49">
                <a:extLst>
                  <a:ext uri="{FF2B5EF4-FFF2-40B4-BE49-F238E27FC236}">
                    <a16:creationId xmlns:a16="http://schemas.microsoft.com/office/drawing/2014/main" id="{661075EC-B4B3-3842-2822-EB1D9F4C66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3400" y="4434354"/>
                <a:ext cx="15296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id="{DA7DAEA4-BF87-B6A4-73E4-4B1CEAFF07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4869" y="5185125"/>
                <a:ext cx="15785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id="{8C71EDA0-939B-14B9-6A5F-D98FBD5A50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98170" y="4435091"/>
                <a:ext cx="0" cy="756636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85521A42-9D40-947E-F60D-6F88B4B5C7A7}"/>
              </a:ext>
            </a:extLst>
          </p:cNvPr>
          <p:cNvSpPr txBox="1"/>
          <p:nvPr/>
        </p:nvSpPr>
        <p:spPr>
          <a:xfrm>
            <a:off x="7545070" y="3697056"/>
            <a:ext cx="423979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DAG сам по себе не заботится о том, что происходит внутри задач; он лишь занимается тем, </a:t>
            </a:r>
            <a:r>
              <a:rPr lang="ru-RU" sz="1400" b="1" dirty="0"/>
              <a:t>как их выполнять</a:t>
            </a:r>
            <a:r>
              <a:rPr lang="en-US" sz="1400" b="1" dirty="0"/>
              <a:t> </a:t>
            </a:r>
            <a:r>
              <a:rPr lang="en-US" sz="1400" dirty="0"/>
              <a:t>– </a:t>
            </a:r>
            <a:r>
              <a:rPr lang="ru-RU" sz="1400" dirty="0"/>
              <a:t>в каком порядке          их запускать, сколько раз повторять попытки,       есть ли у них ограничения по времени                   и так далее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CE220D0-87D2-F534-EB16-9F03661BBE48}"/>
              </a:ext>
            </a:extLst>
          </p:cNvPr>
          <p:cNvSpPr txBox="1"/>
          <p:nvPr/>
        </p:nvSpPr>
        <p:spPr>
          <a:xfrm>
            <a:off x="7850855" y="5492527"/>
            <a:ext cx="38629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 err="1">
                <a:hlinkClick r:id="rId2"/>
              </a:rPr>
              <a:t>https</a:t>
            </a:r>
            <a:r>
              <a:rPr lang="ru-RU" sz="1200" dirty="0">
                <a:hlinkClick r:id="rId2"/>
              </a:rPr>
              <a:t>://</a:t>
            </a:r>
            <a:r>
              <a:rPr lang="ru-RU" sz="1200" dirty="0" err="1">
                <a:hlinkClick r:id="rId2"/>
              </a:rPr>
              <a:t>airflow.apache.org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docs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apache-airflow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stable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core-concepts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dags.html</a:t>
            </a:r>
            <a:endParaRPr lang="ru-RU" sz="1200" dirty="0"/>
          </a:p>
        </p:txBody>
      </p:sp>
      <p:sp>
        <p:nvSpPr>
          <p:cNvPr id="59" name="Рисунок 508">
            <a:extLst>
              <a:ext uri="{FF2B5EF4-FFF2-40B4-BE49-F238E27FC236}">
                <a16:creationId xmlns:a16="http://schemas.microsoft.com/office/drawing/2014/main" id="{40252756-88B0-1355-06DB-A31E2ADBC53D}"/>
              </a:ext>
            </a:extLst>
          </p:cNvPr>
          <p:cNvSpPr/>
          <p:nvPr/>
        </p:nvSpPr>
        <p:spPr>
          <a:xfrm>
            <a:off x="7618319" y="5533111"/>
            <a:ext cx="221586" cy="221586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82935 w 171450"/>
              <a:gd name="connsiteY5" fmla="*/ 54360 h 171450"/>
              <a:gd name="connsiteX6" fmla="*/ 69465 w 171450"/>
              <a:gd name="connsiteY6" fmla="*/ 54360 h 171450"/>
              <a:gd name="connsiteX7" fmla="*/ 69465 w 171450"/>
              <a:gd name="connsiteY7" fmla="*/ 40889 h 171450"/>
              <a:gd name="connsiteX8" fmla="*/ 130722 w 171450"/>
              <a:gd name="connsiteY8" fmla="*/ 41056 h 171450"/>
              <a:gd name="connsiteX9" fmla="*/ 130560 w 171450"/>
              <a:gd name="connsiteY9" fmla="*/ 101985 h 171450"/>
              <a:gd name="connsiteX10" fmla="*/ 117090 w 171450"/>
              <a:gd name="connsiteY10" fmla="*/ 101985 h 171450"/>
              <a:gd name="connsiteX11" fmla="*/ 117090 w 171450"/>
              <a:gd name="connsiteY11" fmla="*/ 88514 h 171450"/>
              <a:gd name="connsiteX12" fmla="*/ 116927 w 171450"/>
              <a:gd name="connsiteY12" fmla="*/ 54193 h 171450"/>
              <a:gd name="connsiteX13" fmla="*/ 82935 w 171450"/>
              <a:gd name="connsiteY13" fmla="*/ 54360 h 171450"/>
              <a:gd name="connsiteX14" fmla="*/ 54500 w 171450"/>
              <a:gd name="connsiteY14" fmla="*/ 82700 h 171450"/>
              <a:gd name="connsiteX15" fmla="*/ 54662 w 171450"/>
              <a:gd name="connsiteY15" fmla="*/ 117020 h 171450"/>
              <a:gd name="connsiteX16" fmla="*/ 88655 w 171450"/>
              <a:gd name="connsiteY16" fmla="*/ 116854 h 171450"/>
              <a:gd name="connsiteX17" fmla="*/ 102125 w 171450"/>
              <a:gd name="connsiteY17" fmla="*/ 116854 h 171450"/>
              <a:gd name="connsiteX18" fmla="*/ 102125 w 171450"/>
              <a:gd name="connsiteY18" fmla="*/ 130325 h 171450"/>
              <a:gd name="connsiteX19" fmla="*/ 40867 w 171450"/>
              <a:gd name="connsiteY19" fmla="*/ 130158 h 171450"/>
              <a:gd name="connsiteX20" fmla="*/ 41030 w 171450"/>
              <a:gd name="connsiteY20" fmla="*/ 69229 h 171450"/>
              <a:gd name="connsiteX21" fmla="*/ 54500 w 171450"/>
              <a:gd name="connsiteY21" fmla="*/ 69229 h 171450"/>
              <a:gd name="connsiteX22" fmla="*/ 54500 w 171450"/>
              <a:gd name="connsiteY22" fmla="*/ 82700 h 171450"/>
              <a:gd name="connsiteX23" fmla="*/ 101985 w 171450"/>
              <a:gd name="connsiteY23" fmla="*/ 82935 h 171450"/>
              <a:gd name="connsiteX24" fmla="*/ 82935 w 171450"/>
              <a:gd name="connsiteY24" fmla="*/ 101985 h 171450"/>
              <a:gd name="connsiteX25" fmla="*/ 69465 w 171450"/>
              <a:gd name="connsiteY25" fmla="*/ 101985 h 171450"/>
              <a:gd name="connsiteX26" fmla="*/ 69465 w 171450"/>
              <a:gd name="connsiteY26" fmla="*/ 88514 h 171450"/>
              <a:gd name="connsiteX27" fmla="*/ 88515 w 171450"/>
              <a:gd name="connsiteY27" fmla="*/ 69464 h 171450"/>
              <a:gd name="connsiteX28" fmla="*/ 101985 w 171450"/>
              <a:gd name="connsiteY28" fmla="*/ 69464 h 171450"/>
              <a:gd name="connsiteX29" fmla="*/ 101985 w 171450"/>
              <a:gd name="connsiteY29" fmla="*/ 8293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82935" y="54360"/>
                </a:moveTo>
                <a:cubicBezTo>
                  <a:pt x="79216" y="58079"/>
                  <a:pt x="73184" y="58079"/>
                  <a:pt x="69465" y="54360"/>
                </a:cubicBezTo>
                <a:cubicBezTo>
                  <a:pt x="65745" y="50640"/>
                  <a:pt x="65745" y="44609"/>
                  <a:pt x="69465" y="40889"/>
                </a:cubicBezTo>
                <a:cubicBezTo>
                  <a:pt x="85916" y="24437"/>
                  <a:pt x="114308" y="23820"/>
                  <a:pt x="130722" y="41056"/>
                </a:cubicBezTo>
                <a:cubicBezTo>
                  <a:pt x="146518" y="57642"/>
                  <a:pt x="147755" y="84791"/>
                  <a:pt x="130560" y="101985"/>
                </a:cubicBezTo>
                <a:cubicBezTo>
                  <a:pt x="126841" y="105705"/>
                  <a:pt x="120809" y="105705"/>
                  <a:pt x="117090" y="101985"/>
                </a:cubicBezTo>
                <a:cubicBezTo>
                  <a:pt x="113369" y="98265"/>
                  <a:pt x="113369" y="92234"/>
                  <a:pt x="117090" y="88514"/>
                </a:cubicBezTo>
                <a:cubicBezTo>
                  <a:pt x="126403" y="79200"/>
                  <a:pt x="126161" y="63889"/>
                  <a:pt x="116927" y="54193"/>
                </a:cubicBezTo>
                <a:cubicBezTo>
                  <a:pt x="108295" y="45129"/>
                  <a:pt x="92236" y="45058"/>
                  <a:pt x="82935" y="54360"/>
                </a:cubicBezTo>
                <a:close/>
                <a:moveTo>
                  <a:pt x="54500" y="82700"/>
                </a:moveTo>
                <a:cubicBezTo>
                  <a:pt x="45186" y="92013"/>
                  <a:pt x="45429" y="107325"/>
                  <a:pt x="54662" y="117020"/>
                </a:cubicBezTo>
                <a:cubicBezTo>
                  <a:pt x="63295" y="126084"/>
                  <a:pt x="79353" y="126156"/>
                  <a:pt x="88655" y="116854"/>
                </a:cubicBezTo>
                <a:cubicBezTo>
                  <a:pt x="92374" y="113134"/>
                  <a:pt x="98406" y="113134"/>
                  <a:pt x="102125" y="116854"/>
                </a:cubicBezTo>
                <a:cubicBezTo>
                  <a:pt x="105845" y="120574"/>
                  <a:pt x="105845" y="126604"/>
                  <a:pt x="102125" y="130325"/>
                </a:cubicBezTo>
                <a:cubicBezTo>
                  <a:pt x="85673" y="146776"/>
                  <a:pt x="57282" y="147394"/>
                  <a:pt x="40867" y="130158"/>
                </a:cubicBezTo>
                <a:cubicBezTo>
                  <a:pt x="25071" y="113571"/>
                  <a:pt x="23835" y="86423"/>
                  <a:pt x="41030" y="69229"/>
                </a:cubicBezTo>
                <a:cubicBezTo>
                  <a:pt x="44750" y="65509"/>
                  <a:pt x="50780" y="65509"/>
                  <a:pt x="54500" y="69229"/>
                </a:cubicBezTo>
                <a:cubicBezTo>
                  <a:pt x="58220" y="72949"/>
                  <a:pt x="58220" y="78979"/>
                  <a:pt x="54500" y="82700"/>
                </a:cubicBezTo>
                <a:close/>
                <a:moveTo>
                  <a:pt x="101985" y="82935"/>
                </a:moveTo>
                <a:lnTo>
                  <a:pt x="82935" y="101985"/>
                </a:lnTo>
                <a:cubicBezTo>
                  <a:pt x="79216" y="105705"/>
                  <a:pt x="73184" y="105705"/>
                  <a:pt x="69465" y="101985"/>
                </a:cubicBezTo>
                <a:cubicBezTo>
                  <a:pt x="65745" y="98265"/>
                  <a:pt x="65745" y="92234"/>
                  <a:pt x="69465" y="88514"/>
                </a:cubicBezTo>
                <a:lnTo>
                  <a:pt x="88515" y="69464"/>
                </a:lnTo>
                <a:cubicBezTo>
                  <a:pt x="92234" y="65745"/>
                  <a:pt x="98266" y="65745"/>
                  <a:pt x="101985" y="69464"/>
                </a:cubicBezTo>
                <a:cubicBezTo>
                  <a:pt x="105705" y="73184"/>
                  <a:pt x="105705" y="79215"/>
                  <a:pt x="101985" y="8293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244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75326F89-5A16-A33F-B8BF-68A53E3CBBA1}"/>
              </a:ext>
            </a:extLst>
          </p:cNvPr>
          <p:cNvSpPr/>
          <p:nvPr/>
        </p:nvSpPr>
        <p:spPr>
          <a:xfrm>
            <a:off x="639764" y="1330081"/>
            <a:ext cx="10925180" cy="3346849"/>
          </a:xfrm>
          <a:prstGeom prst="roundRect">
            <a:avLst>
              <a:gd name="adj" fmla="val 710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5F3AE3-5E4F-0B0D-43AE-F3F9C07D7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1F1F53B-5FC6-D059-8A3E-73FE1FB37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рхитектура </a:t>
            </a:r>
            <a:r>
              <a:rPr lang="en" dirty="0"/>
              <a:t>Airflow</a:t>
            </a:r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1461D5-7568-D9F0-01B0-F457DB7EF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8794610" cy="144500"/>
          </a:xfrm>
        </p:spPr>
        <p:txBody>
          <a:bodyPr/>
          <a:lstStyle/>
          <a:p>
            <a:r>
              <a:rPr lang="ru-RU" dirty="0" err="1"/>
              <a:t>Харенслак</a:t>
            </a:r>
            <a:r>
              <a:rPr lang="ru-RU" dirty="0"/>
              <a:t> Б., де </a:t>
            </a:r>
            <a:r>
              <a:rPr lang="ru-RU" dirty="0" err="1"/>
              <a:t>Руйтер</a:t>
            </a:r>
            <a:r>
              <a:rPr lang="ru-RU" dirty="0"/>
              <a:t> Дж. </a:t>
            </a:r>
            <a:r>
              <a:rPr lang="en" dirty="0"/>
              <a:t>Apache Airflow </a:t>
            </a:r>
            <a:r>
              <a:rPr lang="ru-RU" dirty="0"/>
              <a:t>и конвейеры обработки данных / пер. с англ. Д. А. Беликова. –М.: ДМК Пресс, 2021. – 502 с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36F266-2B14-C321-59AE-212D61D2A37E}"/>
              </a:ext>
            </a:extLst>
          </p:cNvPr>
          <p:cNvSpPr txBox="1"/>
          <p:nvPr/>
        </p:nvSpPr>
        <p:spPr>
          <a:xfrm>
            <a:off x="1108204" y="1718950"/>
            <a:ext cx="442632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В минимальном варианте </a:t>
            </a:r>
            <a:r>
              <a:rPr lang="ru-RU" sz="2400" dirty="0" err="1"/>
              <a:t>Airflow</a:t>
            </a:r>
            <a:r>
              <a:rPr lang="ru-RU" sz="2400" dirty="0"/>
              <a:t> состоит из </a:t>
            </a:r>
            <a:r>
              <a:rPr lang="ru-RU" sz="2400" b="1" dirty="0"/>
              <a:t>трёх компонентов</a:t>
            </a:r>
            <a:r>
              <a:rPr lang="ru-RU" sz="2400" dirty="0"/>
              <a:t>: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15DF2A4-063A-B607-2664-8F4C8B916CF1}"/>
              </a:ext>
            </a:extLst>
          </p:cNvPr>
          <p:cNvGrpSpPr/>
          <p:nvPr/>
        </p:nvGrpSpPr>
        <p:grpSpPr>
          <a:xfrm>
            <a:off x="1239569" y="3028506"/>
            <a:ext cx="2394882" cy="369332"/>
            <a:chOff x="1398004" y="2818839"/>
            <a:chExt cx="2394882" cy="3693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9107C66-4870-75A6-FE28-C3A6F9C76173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веб-сервер</a:t>
              </a:r>
            </a:p>
          </p:txBody>
        </p:sp>
        <p:sp>
          <p:nvSpPr>
            <p:cNvPr id="18" name="Рисунок 15">
              <a:extLst>
                <a:ext uri="{FF2B5EF4-FFF2-40B4-BE49-F238E27FC236}">
                  <a16:creationId xmlns:a16="http://schemas.microsoft.com/office/drawing/2014/main" id="{73AA296D-636A-C51A-CA7E-32EA4A60BDBE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D96FD38-3DF6-41D7-E24B-E11D63793E48}"/>
              </a:ext>
            </a:extLst>
          </p:cNvPr>
          <p:cNvGrpSpPr/>
          <p:nvPr/>
        </p:nvGrpSpPr>
        <p:grpSpPr>
          <a:xfrm>
            <a:off x="1239569" y="3421233"/>
            <a:ext cx="2394882" cy="369332"/>
            <a:chOff x="1398004" y="2818839"/>
            <a:chExt cx="2394882" cy="36933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DFDD9E6-17E0-07BE-6E8B-B38E4FCBBDB3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планировщик</a:t>
              </a:r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5E643749-EA77-3F32-2188-32397316FD03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CBE33A6-3CD2-3230-2CBB-1FC90F591565}"/>
              </a:ext>
            </a:extLst>
          </p:cNvPr>
          <p:cNvGrpSpPr/>
          <p:nvPr/>
        </p:nvGrpSpPr>
        <p:grpSpPr>
          <a:xfrm>
            <a:off x="1239569" y="3813960"/>
            <a:ext cx="2394882" cy="369332"/>
            <a:chOff x="1398004" y="2818839"/>
            <a:chExt cx="2394882" cy="36933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981E002-0A8B-2C5A-2FF9-19E3A4DFEA3D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база данных</a:t>
              </a: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A2286824-CD95-846B-3202-02C5E7C368C5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9286F5D0-09A8-F921-A7F7-0677F4F599FC}"/>
              </a:ext>
            </a:extLst>
          </p:cNvPr>
          <p:cNvSpPr/>
          <p:nvPr/>
        </p:nvSpPr>
        <p:spPr>
          <a:xfrm>
            <a:off x="5501868" y="1518701"/>
            <a:ext cx="5875627" cy="2965553"/>
          </a:xfrm>
          <a:prstGeom prst="roundRect">
            <a:avLst>
              <a:gd name="adj" fmla="val 462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F19F0BF-8F1B-8746-2DFF-C1CB49E46140}"/>
              </a:ext>
            </a:extLst>
          </p:cNvPr>
          <p:cNvGrpSpPr/>
          <p:nvPr/>
        </p:nvGrpSpPr>
        <p:grpSpPr>
          <a:xfrm>
            <a:off x="6076563" y="2589023"/>
            <a:ext cx="4726235" cy="878965"/>
            <a:chOff x="6116799" y="2664701"/>
            <a:chExt cx="4726235" cy="878965"/>
          </a:xfrm>
        </p:grpSpPr>
        <p:sp>
          <p:nvSpPr>
            <p:cNvPr id="28" name="Полилиния: фигура 1352">
              <a:extLst>
                <a:ext uri="{FF2B5EF4-FFF2-40B4-BE49-F238E27FC236}">
                  <a16:creationId xmlns:a16="http://schemas.microsoft.com/office/drawing/2014/main" id="{F4029D6E-F466-52E1-09E2-59E3BC713410}"/>
                </a:ext>
              </a:extLst>
            </p:cNvPr>
            <p:cNvSpPr/>
            <p:nvPr/>
          </p:nvSpPr>
          <p:spPr>
            <a:xfrm>
              <a:off x="6116799" y="2664701"/>
              <a:ext cx="452585" cy="509155"/>
            </a:xfrm>
            <a:custGeom>
              <a:avLst/>
              <a:gdLst>
                <a:gd name="connsiteX0" fmla="*/ 33338 w 152400"/>
                <a:gd name="connsiteY0" fmla="*/ 104774 h 171449"/>
                <a:gd name="connsiteX1" fmla="*/ 76200 w 152400"/>
                <a:gd name="connsiteY1" fmla="*/ 114299 h 171449"/>
                <a:gd name="connsiteX2" fmla="*/ 119063 w 152400"/>
                <a:gd name="connsiteY2" fmla="*/ 104774 h 171449"/>
                <a:gd name="connsiteX3" fmla="*/ 152400 w 152400"/>
                <a:gd name="connsiteY3" fmla="*/ 138112 h 171449"/>
                <a:gd name="connsiteX4" fmla="*/ 76117 w 152400"/>
                <a:gd name="connsiteY4" fmla="*/ 171449 h 171449"/>
                <a:gd name="connsiteX5" fmla="*/ 0 w 152400"/>
                <a:gd name="connsiteY5" fmla="*/ 138112 h 171449"/>
                <a:gd name="connsiteX6" fmla="*/ 33338 w 152400"/>
                <a:gd name="connsiteY6" fmla="*/ 104774 h 171449"/>
                <a:gd name="connsiteX7" fmla="*/ 76200 w 152400"/>
                <a:gd name="connsiteY7" fmla="*/ 0 h 171449"/>
                <a:gd name="connsiteX8" fmla="*/ 123825 w 152400"/>
                <a:gd name="connsiteY8" fmla="*/ 47625 h 171449"/>
                <a:gd name="connsiteX9" fmla="*/ 76200 w 152400"/>
                <a:gd name="connsiteY9" fmla="*/ 95250 h 171449"/>
                <a:gd name="connsiteX10" fmla="*/ 28575 w 152400"/>
                <a:gd name="connsiteY10" fmla="*/ 47625 h 171449"/>
                <a:gd name="connsiteX11" fmla="*/ 76200 w 152400"/>
                <a:gd name="connsiteY11" fmla="*/ 0 h 17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171449">
                  <a:moveTo>
                    <a:pt x="33338" y="104774"/>
                  </a:moveTo>
                  <a:cubicBezTo>
                    <a:pt x="47625" y="104821"/>
                    <a:pt x="47625" y="114299"/>
                    <a:pt x="76200" y="114299"/>
                  </a:cubicBezTo>
                  <a:cubicBezTo>
                    <a:pt x="104775" y="114299"/>
                    <a:pt x="104775" y="104774"/>
                    <a:pt x="119063" y="104774"/>
                  </a:cubicBezTo>
                  <a:cubicBezTo>
                    <a:pt x="128588" y="104774"/>
                    <a:pt x="152400" y="128587"/>
                    <a:pt x="152400" y="138112"/>
                  </a:cubicBezTo>
                  <a:cubicBezTo>
                    <a:pt x="152400" y="147637"/>
                    <a:pt x="128422" y="171449"/>
                    <a:pt x="76117" y="171449"/>
                  </a:cubicBezTo>
                  <a:cubicBezTo>
                    <a:pt x="23813" y="171449"/>
                    <a:pt x="0" y="147637"/>
                    <a:pt x="0" y="138112"/>
                  </a:cubicBezTo>
                  <a:cubicBezTo>
                    <a:pt x="0" y="128587"/>
                    <a:pt x="23813" y="104743"/>
                    <a:pt x="33338" y="104774"/>
                  </a:cubicBezTo>
                  <a:close/>
                  <a:moveTo>
                    <a:pt x="76200" y="0"/>
                  </a:moveTo>
                  <a:cubicBezTo>
                    <a:pt x="104775" y="0"/>
                    <a:pt x="123825" y="19050"/>
                    <a:pt x="123825" y="47625"/>
                  </a:cubicBezTo>
                  <a:cubicBezTo>
                    <a:pt x="123825" y="76200"/>
                    <a:pt x="104775" y="95250"/>
                    <a:pt x="76200" y="95250"/>
                  </a:cubicBezTo>
                  <a:cubicBezTo>
                    <a:pt x="47625" y="95250"/>
                    <a:pt x="28575" y="76200"/>
                    <a:pt x="28575" y="47625"/>
                  </a:cubicBezTo>
                  <a:cubicBezTo>
                    <a:pt x="28575" y="19050"/>
                    <a:pt x="47625" y="0"/>
                    <a:pt x="7620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435">
              <a:extLst>
                <a:ext uri="{FF2B5EF4-FFF2-40B4-BE49-F238E27FC236}">
                  <a16:creationId xmlns:a16="http://schemas.microsoft.com/office/drawing/2014/main" id="{CE24C2EC-152B-40A3-5781-B1784DEB14D2}"/>
                </a:ext>
              </a:extLst>
            </p:cNvPr>
            <p:cNvSpPr/>
            <p:nvPr/>
          </p:nvSpPr>
          <p:spPr>
            <a:xfrm>
              <a:off x="8264013" y="2717223"/>
              <a:ext cx="452584" cy="452581"/>
            </a:xfrm>
            <a:custGeom>
              <a:avLst/>
              <a:gdLst>
                <a:gd name="connsiteX0" fmla="*/ 152001 w 171450"/>
                <a:gd name="connsiteY0" fmla="*/ 111469 h 171449"/>
                <a:gd name="connsiteX1" fmla="*/ 159294 w 171450"/>
                <a:gd name="connsiteY1" fmla="*/ 114301 h 171449"/>
                <a:gd name="connsiteX2" fmla="*/ 156343 w 171450"/>
                <a:gd name="connsiteY2" fmla="*/ 134937 h 171449"/>
                <a:gd name="connsiteX3" fmla="*/ 103970 w 171450"/>
                <a:gd name="connsiteY3" fmla="*/ 163888 h 171449"/>
                <a:gd name="connsiteX4" fmla="*/ 103330 w 171450"/>
                <a:gd name="connsiteY4" fmla="*/ 164242 h 171449"/>
                <a:gd name="connsiteX5" fmla="*/ 67712 w 171450"/>
                <a:gd name="connsiteY5" fmla="*/ 163888 h 171449"/>
                <a:gd name="connsiteX6" fmla="*/ 15340 w 171450"/>
                <a:gd name="connsiteY6" fmla="*/ 134937 h 171449"/>
                <a:gd name="connsiteX7" fmla="*/ 0 w 171450"/>
                <a:gd name="connsiteY7" fmla="*/ 123802 h 171449"/>
                <a:gd name="connsiteX8" fmla="*/ 12384 w 171450"/>
                <a:gd name="connsiteY8" fmla="*/ 114301 h 171449"/>
                <a:gd name="connsiteX9" fmla="*/ 27244 w 171450"/>
                <a:gd name="connsiteY9" fmla="*/ 114301 h 171449"/>
                <a:gd name="connsiteX10" fmla="*/ 63434 w 171450"/>
                <a:gd name="connsiteY10" fmla="*/ 134307 h 171449"/>
                <a:gd name="connsiteX11" fmla="*/ 74589 w 171450"/>
                <a:gd name="connsiteY11" fmla="*/ 140132 h 171449"/>
                <a:gd name="connsiteX12" fmla="*/ 85669 w 171450"/>
                <a:gd name="connsiteY12" fmla="*/ 142874 h 171449"/>
                <a:gd name="connsiteX13" fmla="*/ 96764 w 171450"/>
                <a:gd name="connsiteY13" fmla="*/ 140297 h 171449"/>
                <a:gd name="connsiteX14" fmla="*/ 107593 w 171450"/>
                <a:gd name="connsiteY14" fmla="*/ 134669 h 171449"/>
                <a:gd name="connsiteX15" fmla="*/ 144438 w 171450"/>
                <a:gd name="connsiteY15" fmla="*/ 114301 h 171449"/>
                <a:gd name="connsiteX16" fmla="*/ 152001 w 171450"/>
                <a:gd name="connsiteY16" fmla="*/ 111469 h 171449"/>
                <a:gd name="connsiteX17" fmla="*/ 152000 w 171450"/>
                <a:gd name="connsiteY17" fmla="*/ 73368 h 171449"/>
                <a:gd name="connsiteX18" fmla="*/ 159293 w 171450"/>
                <a:gd name="connsiteY18" fmla="*/ 76201 h 171449"/>
                <a:gd name="connsiteX19" fmla="*/ 156343 w 171450"/>
                <a:gd name="connsiteY19" fmla="*/ 96837 h 171449"/>
                <a:gd name="connsiteX20" fmla="*/ 103970 w 171450"/>
                <a:gd name="connsiteY20" fmla="*/ 125788 h 171449"/>
                <a:gd name="connsiteX21" fmla="*/ 103330 w 171450"/>
                <a:gd name="connsiteY21" fmla="*/ 126142 h 171449"/>
                <a:gd name="connsiteX22" fmla="*/ 67712 w 171450"/>
                <a:gd name="connsiteY22" fmla="*/ 125788 h 171449"/>
                <a:gd name="connsiteX23" fmla="*/ 15340 w 171450"/>
                <a:gd name="connsiteY23" fmla="*/ 96837 h 171449"/>
                <a:gd name="connsiteX24" fmla="*/ 0 w 171450"/>
                <a:gd name="connsiteY24" fmla="*/ 85702 h 171449"/>
                <a:gd name="connsiteX25" fmla="*/ 12384 w 171450"/>
                <a:gd name="connsiteY25" fmla="*/ 76201 h 171449"/>
                <a:gd name="connsiteX26" fmla="*/ 27244 w 171450"/>
                <a:gd name="connsiteY26" fmla="*/ 76201 h 171449"/>
                <a:gd name="connsiteX27" fmla="*/ 63446 w 171450"/>
                <a:gd name="connsiteY27" fmla="*/ 96213 h 171449"/>
                <a:gd name="connsiteX28" fmla="*/ 74714 w 171450"/>
                <a:gd name="connsiteY28" fmla="*/ 102086 h 171449"/>
                <a:gd name="connsiteX29" fmla="*/ 85956 w 171450"/>
                <a:gd name="connsiteY29" fmla="*/ 104774 h 171449"/>
                <a:gd name="connsiteX30" fmla="*/ 97134 w 171450"/>
                <a:gd name="connsiteY30" fmla="*/ 102034 h 171449"/>
                <a:gd name="connsiteX31" fmla="*/ 107745 w 171450"/>
                <a:gd name="connsiteY31" fmla="*/ 96484 h 171449"/>
                <a:gd name="connsiteX32" fmla="*/ 144438 w 171450"/>
                <a:gd name="connsiteY32" fmla="*/ 76201 h 171449"/>
                <a:gd name="connsiteX33" fmla="*/ 152000 w 171450"/>
                <a:gd name="connsiteY33" fmla="*/ 73368 h 171449"/>
                <a:gd name="connsiteX34" fmla="*/ 85842 w 171450"/>
                <a:gd name="connsiteY34" fmla="*/ 0 h 171449"/>
                <a:gd name="connsiteX35" fmla="*/ 103970 w 171450"/>
                <a:gd name="connsiteY35" fmla="*/ 7515 h 171449"/>
                <a:gd name="connsiteX36" fmla="*/ 156343 w 171450"/>
                <a:gd name="connsiteY36" fmla="*/ 36466 h 171449"/>
                <a:gd name="connsiteX37" fmla="*/ 156343 w 171450"/>
                <a:gd name="connsiteY37" fmla="*/ 58736 h 171449"/>
                <a:gd name="connsiteX38" fmla="*/ 103970 w 171450"/>
                <a:gd name="connsiteY38" fmla="*/ 87687 h 171449"/>
                <a:gd name="connsiteX39" fmla="*/ 67712 w 171450"/>
                <a:gd name="connsiteY39" fmla="*/ 87687 h 171449"/>
                <a:gd name="connsiteX40" fmla="*/ 15340 w 171450"/>
                <a:gd name="connsiteY40" fmla="*/ 58736 h 171449"/>
                <a:gd name="connsiteX41" fmla="*/ 15340 w 171450"/>
                <a:gd name="connsiteY41" fmla="*/ 36466 h 171449"/>
                <a:gd name="connsiteX42" fmla="*/ 67712 w 171450"/>
                <a:gd name="connsiteY42" fmla="*/ 7515 h 171449"/>
                <a:gd name="connsiteX43" fmla="*/ 85842 w 171450"/>
                <a:gd name="connsiteY43" fmla="*/ 0 h 17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71450" h="171449">
                  <a:moveTo>
                    <a:pt x="152001" y="111469"/>
                  </a:moveTo>
                  <a:cubicBezTo>
                    <a:pt x="154011" y="111491"/>
                    <a:pt x="155977" y="112457"/>
                    <a:pt x="159294" y="114301"/>
                  </a:cubicBezTo>
                  <a:cubicBezTo>
                    <a:pt x="176432" y="123831"/>
                    <a:pt x="175450" y="124375"/>
                    <a:pt x="156343" y="134937"/>
                  </a:cubicBezTo>
                  <a:lnTo>
                    <a:pt x="103970" y="163888"/>
                  </a:lnTo>
                  <a:cubicBezTo>
                    <a:pt x="103754" y="164008"/>
                    <a:pt x="103541" y="164125"/>
                    <a:pt x="103330" y="164242"/>
                  </a:cubicBezTo>
                  <a:cubicBezTo>
                    <a:pt x="85844" y="173910"/>
                    <a:pt x="85843" y="173911"/>
                    <a:pt x="67712" y="163888"/>
                  </a:cubicBezTo>
                  <a:lnTo>
                    <a:pt x="15340" y="134937"/>
                  </a:lnTo>
                  <a:cubicBezTo>
                    <a:pt x="5113" y="129284"/>
                    <a:pt x="0" y="126543"/>
                    <a:pt x="0" y="123802"/>
                  </a:cubicBezTo>
                  <a:cubicBezTo>
                    <a:pt x="0" y="121339"/>
                    <a:pt x="4128" y="118876"/>
                    <a:pt x="12384" y="114301"/>
                  </a:cubicBezTo>
                  <a:cubicBezTo>
                    <a:pt x="19015" y="110626"/>
                    <a:pt x="20254" y="110438"/>
                    <a:pt x="27244" y="114301"/>
                  </a:cubicBezTo>
                  <a:lnTo>
                    <a:pt x="63434" y="134307"/>
                  </a:lnTo>
                  <a:cubicBezTo>
                    <a:pt x="67684" y="136656"/>
                    <a:pt x="71389" y="138705"/>
                    <a:pt x="74589" y="140132"/>
                  </a:cubicBezTo>
                  <a:cubicBezTo>
                    <a:pt x="77984" y="141644"/>
                    <a:pt x="81597" y="142833"/>
                    <a:pt x="85669" y="142874"/>
                  </a:cubicBezTo>
                  <a:cubicBezTo>
                    <a:pt x="89771" y="142915"/>
                    <a:pt x="93384" y="141781"/>
                    <a:pt x="96764" y="140297"/>
                  </a:cubicBezTo>
                  <a:cubicBezTo>
                    <a:pt x="99912" y="138917"/>
                    <a:pt x="103518" y="136923"/>
                    <a:pt x="107593" y="134669"/>
                  </a:cubicBezTo>
                  <a:lnTo>
                    <a:pt x="144438" y="114301"/>
                  </a:lnTo>
                  <a:cubicBezTo>
                    <a:pt x="147934" y="112369"/>
                    <a:pt x="149990" y="111446"/>
                    <a:pt x="152001" y="111469"/>
                  </a:cubicBezTo>
                  <a:close/>
                  <a:moveTo>
                    <a:pt x="152000" y="73368"/>
                  </a:moveTo>
                  <a:cubicBezTo>
                    <a:pt x="154010" y="73390"/>
                    <a:pt x="155976" y="74356"/>
                    <a:pt x="159293" y="76201"/>
                  </a:cubicBezTo>
                  <a:cubicBezTo>
                    <a:pt x="176432" y="85731"/>
                    <a:pt x="175450" y="86275"/>
                    <a:pt x="156343" y="96837"/>
                  </a:cubicBezTo>
                  <a:lnTo>
                    <a:pt x="103970" y="125788"/>
                  </a:lnTo>
                  <a:cubicBezTo>
                    <a:pt x="103754" y="125908"/>
                    <a:pt x="103541" y="126025"/>
                    <a:pt x="103330" y="126142"/>
                  </a:cubicBezTo>
                  <a:cubicBezTo>
                    <a:pt x="85844" y="135810"/>
                    <a:pt x="85843" y="135811"/>
                    <a:pt x="67712" y="125788"/>
                  </a:cubicBezTo>
                  <a:lnTo>
                    <a:pt x="15340" y="96837"/>
                  </a:lnTo>
                  <a:cubicBezTo>
                    <a:pt x="5113" y="91184"/>
                    <a:pt x="0" y="88443"/>
                    <a:pt x="0" y="85702"/>
                  </a:cubicBezTo>
                  <a:cubicBezTo>
                    <a:pt x="0" y="83239"/>
                    <a:pt x="4128" y="80776"/>
                    <a:pt x="12384" y="76201"/>
                  </a:cubicBezTo>
                  <a:cubicBezTo>
                    <a:pt x="19015" y="72526"/>
                    <a:pt x="20254" y="72337"/>
                    <a:pt x="27244" y="76201"/>
                  </a:cubicBezTo>
                  <a:lnTo>
                    <a:pt x="63446" y="96213"/>
                  </a:lnTo>
                  <a:cubicBezTo>
                    <a:pt x="67740" y="98587"/>
                    <a:pt x="71481" y="100655"/>
                    <a:pt x="74714" y="102086"/>
                  </a:cubicBezTo>
                  <a:cubicBezTo>
                    <a:pt x="78157" y="103610"/>
                    <a:pt x="81820" y="104788"/>
                    <a:pt x="85956" y="104774"/>
                  </a:cubicBezTo>
                  <a:cubicBezTo>
                    <a:pt x="90092" y="104761"/>
                    <a:pt x="93734" y="103558"/>
                    <a:pt x="97134" y="102034"/>
                  </a:cubicBezTo>
                  <a:cubicBezTo>
                    <a:pt x="100194" y="100661"/>
                    <a:pt x="103730" y="98706"/>
                    <a:pt x="107745" y="96484"/>
                  </a:cubicBezTo>
                  <a:lnTo>
                    <a:pt x="144438" y="76201"/>
                  </a:lnTo>
                  <a:cubicBezTo>
                    <a:pt x="147934" y="74269"/>
                    <a:pt x="149989" y="73347"/>
                    <a:pt x="152000" y="73368"/>
                  </a:cubicBezTo>
                  <a:close/>
                  <a:moveTo>
                    <a:pt x="85842" y="0"/>
                  </a:moveTo>
                  <a:cubicBezTo>
                    <a:pt x="90375" y="0"/>
                    <a:pt x="94907" y="2505"/>
                    <a:pt x="103970" y="7515"/>
                  </a:cubicBezTo>
                  <a:cubicBezTo>
                    <a:pt x="124424" y="18820"/>
                    <a:pt x="135890" y="25160"/>
                    <a:pt x="156343" y="36466"/>
                  </a:cubicBezTo>
                  <a:cubicBezTo>
                    <a:pt x="176484" y="47600"/>
                    <a:pt x="176486" y="47601"/>
                    <a:pt x="156343" y="58736"/>
                  </a:cubicBezTo>
                  <a:lnTo>
                    <a:pt x="103970" y="87687"/>
                  </a:lnTo>
                  <a:cubicBezTo>
                    <a:pt x="85841" y="97707"/>
                    <a:pt x="86062" y="97831"/>
                    <a:pt x="67712" y="87687"/>
                  </a:cubicBezTo>
                  <a:lnTo>
                    <a:pt x="15340" y="58736"/>
                  </a:lnTo>
                  <a:cubicBezTo>
                    <a:pt x="-5113" y="47430"/>
                    <a:pt x="-5113" y="47772"/>
                    <a:pt x="15340" y="36466"/>
                  </a:cubicBezTo>
                  <a:lnTo>
                    <a:pt x="67712" y="7515"/>
                  </a:lnTo>
                  <a:cubicBezTo>
                    <a:pt x="76776" y="2504"/>
                    <a:pt x="81309" y="0"/>
                    <a:pt x="85842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415">
              <a:extLst>
                <a:ext uri="{FF2B5EF4-FFF2-40B4-BE49-F238E27FC236}">
                  <a16:creationId xmlns:a16="http://schemas.microsoft.com/office/drawing/2014/main" id="{6AF1A21C-4A14-2748-E17D-CFD0F2771637}"/>
                </a:ext>
              </a:extLst>
            </p:cNvPr>
            <p:cNvSpPr/>
            <p:nvPr/>
          </p:nvSpPr>
          <p:spPr>
            <a:xfrm>
              <a:off x="7190405" y="2717390"/>
              <a:ext cx="452587" cy="452581"/>
            </a:xfrm>
            <a:custGeom>
              <a:avLst/>
              <a:gdLst>
                <a:gd name="connsiteX0" fmla="*/ 2372 w 152401"/>
                <a:gd name="connsiteY0" fmla="*/ 54148 h 152399"/>
                <a:gd name="connsiteX1" fmla="*/ 18974 w 152401"/>
                <a:gd name="connsiteY1" fmla="*/ 57698 h 152399"/>
                <a:gd name="connsiteX2" fmla="*/ 76200 w 152401"/>
                <a:gd name="connsiteY2" fmla="*/ 66674 h 152399"/>
                <a:gd name="connsiteX3" fmla="*/ 133426 w 152401"/>
                <a:gd name="connsiteY3" fmla="*/ 57698 h 152399"/>
                <a:gd name="connsiteX4" fmla="*/ 152400 w 152401"/>
                <a:gd name="connsiteY4" fmla="*/ 66596 h 152399"/>
                <a:gd name="connsiteX5" fmla="*/ 152400 w 152401"/>
                <a:gd name="connsiteY5" fmla="*/ 123824 h 152399"/>
                <a:gd name="connsiteX6" fmla="*/ 76200 w 152401"/>
                <a:gd name="connsiteY6" fmla="*/ 152399 h 152399"/>
                <a:gd name="connsiteX7" fmla="*/ 0 w 152401"/>
                <a:gd name="connsiteY7" fmla="*/ 123824 h 152399"/>
                <a:gd name="connsiteX8" fmla="*/ 0 w 152401"/>
                <a:gd name="connsiteY8" fmla="*/ 66596 h 152399"/>
                <a:gd name="connsiteX9" fmla="*/ 2372 w 152401"/>
                <a:gd name="connsiteY9" fmla="*/ 54148 h 152399"/>
                <a:gd name="connsiteX10" fmla="*/ 76201 w 152401"/>
                <a:gd name="connsiteY10" fmla="*/ 0 h 152399"/>
                <a:gd name="connsiteX11" fmla="*/ 152401 w 152401"/>
                <a:gd name="connsiteY11" fmla="*/ 28575 h 152399"/>
                <a:gd name="connsiteX12" fmla="*/ 76201 w 152401"/>
                <a:gd name="connsiteY12" fmla="*/ 57150 h 152399"/>
                <a:gd name="connsiteX13" fmla="*/ 1 w 152401"/>
                <a:gd name="connsiteY13" fmla="*/ 28575 h 152399"/>
                <a:gd name="connsiteX14" fmla="*/ 76201 w 152401"/>
                <a:gd name="connsiteY14" fmla="*/ 0 h 1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401" h="152399">
                  <a:moveTo>
                    <a:pt x="2372" y="54148"/>
                  </a:moveTo>
                  <a:cubicBezTo>
                    <a:pt x="4744" y="52811"/>
                    <a:pt x="9487" y="54141"/>
                    <a:pt x="18974" y="57698"/>
                  </a:cubicBezTo>
                  <a:cubicBezTo>
                    <a:pt x="34084" y="63364"/>
                    <a:pt x="54318" y="66674"/>
                    <a:pt x="76200" y="66674"/>
                  </a:cubicBezTo>
                  <a:cubicBezTo>
                    <a:pt x="98082" y="66674"/>
                    <a:pt x="118317" y="63364"/>
                    <a:pt x="133426" y="57698"/>
                  </a:cubicBezTo>
                  <a:cubicBezTo>
                    <a:pt x="152400" y="50583"/>
                    <a:pt x="152400" y="52380"/>
                    <a:pt x="152400" y="66596"/>
                  </a:cubicBezTo>
                  <a:lnTo>
                    <a:pt x="152400" y="123824"/>
                  </a:lnTo>
                  <a:cubicBezTo>
                    <a:pt x="152400" y="139605"/>
                    <a:pt x="118284" y="152399"/>
                    <a:pt x="76200" y="152399"/>
                  </a:cubicBezTo>
                  <a:cubicBezTo>
                    <a:pt x="34116" y="152399"/>
                    <a:pt x="0" y="139605"/>
                    <a:pt x="0" y="123824"/>
                  </a:cubicBezTo>
                  <a:lnTo>
                    <a:pt x="0" y="66596"/>
                  </a:lnTo>
                  <a:cubicBezTo>
                    <a:pt x="0" y="59488"/>
                    <a:pt x="0" y="55485"/>
                    <a:pt x="2372" y="54148"/>
                  </a:cubicBezTo>
                  <a:close/>
                  <a:moveTo>
                    <a:pt x="76201" y="0"/>
                  </a:moveTo>
                  <a:cubicBezTo>
                    <a:pt x="118285" y="0"/>
                    <a:pt x="152401" y="12794"/>
                    <a:pt x="152401" y="28575"/>
                  </a:cubicBezTo>
                  <a:cubicBezTo>
                    <a:pt x="152401" y="44356"/>
                    <a:pt x="118285" y="57150"/>
                    <a:pt x="76201" y="57150"/>
                  </a:cubicBezTo>
                  <a:cubicBezTo>
                    <a:pt x="34117" y="57150"/>
                    <a:pt x="1" y="44356"/>
                    <a:pt x="1" y="28575"/>
                  </a:cubicBezTo>
                  <a:cubicBezTo>
                    <a:pt x="1" y="12794"/>
                    <a:pt x="34117" y="0"/>
                    <a:pt x="7620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Рисунок 757">
              <a:extLst>
                <a:ext uri="{FF2B5EF4-FFF2-40B4-BE49-F238E27FC236}">
                  <a16:creationId xmlns:a16="http://schemas.microsoft.com/office/drawing/2014/main" id="{EF513928-D83A-5D5E-9388-1997A9EFB4AA}"/>
                </a:ext>
              </a:extLst>
            </p:cNvPr>
            <p:cNvSpPr/>
            <p:nvPr/>
          </p:nvSpPr>
          <p:spPr>
            <a:xfrm>
              <a:off x="10401434" y="2745982"/>
              <a:ext cx="399231" cy="354870"/>
            </a:xfrm>
            <a:custGeom>
              <a:avLst/>
              <a:gdLst>
                <a:gd name="connsiteX0" fmla="*/ 0 w 171450"/>
                <a:gd name="connsiteY0" fmla="*/ 95250 h 152399"/>
                <a:gd name="connsiteX1" fmla="*/ 38100 w 171450"/>
                <a:gd name="connsiteY1" fmla="*/ 0 h 152399"/>
                <a:gd name="connsiteX2" fmla="*/ 94655 w 171450"/>
                <a:gd name="connsiteY2" fmla="*/ 23217 h 152399"/>
                <a:gd name="connsiteX3" fmla="*/ 90488 w 171450"/>
                <a:gd name="connsiteY3" fmla="*/ 28575 h 152399"/>
                <a:gd name="connsiteX4" fmla="*/ 50003 w 171450"/>
                <a:gd name="connsiteY4" fmla="*/ 30707 h 152399"/>
                <a:gd name="connsiteX5" fmla="*/ 25662 w 171450"/>
                <a:gd name="connsiteY5" fmla="*/ 38283 h 152399"/>
                <a:gd name="connsiteX6" fmla="*/ 19050 w 171450"/>
                <a:gd name="connsiteY6" fmla="*/ 61911 h 152399"/>
                <a:gd name="connsiteX7" fmla="*/ 19050 w 171450"/>
                <a:gd name="connsiteY7" fmla="*/ 109536 h 152399"/>
                <a:gd name="connsiteX8" fmla="*/ 23813 w 171450"/>
                <a:gd name="connsiteY8" fmla="*/ 114299 h 152399"/>
                <a:gd name="connsiteX9" fmla="*/ 28575 w 171450"/>
                <a:gd name="connsiteY9" fmla="*/ 109536 h 152399"/>
                <a:gd name="connsiteX10" fmla="*/ 28575 w 171450"/>
                <a:gd name="connsiteY10" fmla="*/ 61911 h 152399"/>
                <a:gd name="connsiteX11" fmla="*/ 40067 w 171450"/>
                <a:gd name="connsiteY11" fmla="*/ 41919 h 152399"/>
                <a:gd name="connsiteX12" fmla="*/ 123351 w 171450"/>
                <a:gd name="connsiteY12" fmla="*/ 40440 h 152399"/>
                <a:gd name="connsiteX13" fmla="*/ 171450 w 171450"/>
                <a:gd name="connsiteY13" fmla="*/ 95250 h 152399"/>
                <a:gd name="connsiteX14" fmla="*/ 85725 w 171450"/>
                <a:gd name="connsiteY14" fmla="*/ 152400 h 152399"/>
                <a:gd name="connsiteX15" fmla="*/ 0 w 171450"/>
                <a:gd name="connsiteY15" fmla="*/ 95250 h 1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52399">
                  <a:moveTo>
                    <a:pt x="0" y="95250"/>
                  </a:moveTo>
                  <a:cubicBezTo>
                    <a:pt x="0" y="9524"/>
                    <a:pt x="0" y="0"/>
                    <a:pt x="38100" y="0"/>
                  </a:cubicBezTo>
                  <a:cubicBezTo>
                    <a:pt x="76194" y="0"/>
                    <a:pt x="80963" y="0"/>
                    <a:pt x="94655" y="23217"/>
                  </a:cubicBezTo>
                  <a:cubicBezTo>
                    <a:pt x="96446" y="26256"/>
                    <a:pt x="95403" y="28575"/>
                    <a:pt x="90488" y="28575"/>
                  </a:cubicBezTo>
                  <a:cubicBezTo>
                    <a:pt x="72665" y="28575"/>
                    <a:pt x="61926" y="29085"/>
                    <a:pt x="50003" y="30707"/>
                  </a:cubicBezTo>
                  <a:cubicBezTo>
                    <a:pt x="42050" y="31626"/>
                    <a:pt x="31910" y="32612"/>
                    <a:pt x="25662" y="38283"/>
                  </a:cubicBezTo>
                  <a:cubicBezTo>
                    <a:pt x="19727" y="43670"/>
                    <a:pt x="19050" y="51894"/>
                    <a:pt x="19050" y="61911"/>
                  </a:cubicBezTo>
                  <a:lnTo>
                    <a:pt x="19050" y="109536"/>
                  </a:lnTo>
                  <a:cubicBezTo>
                    <a:pt x="19050" y="112166"/>
                    <a:pt x="21182" y="114299"/>
                    <a:pt x="23813" y="114299"/>
                  </a:cubicBezTo>
                  <a:cubicBezTo>
                    <a:pt x="26443" y="114299"/>
                    <a:pt x="28575" y="112166"/>
                    <a:pt x="28575" y="109536"/>
                  </a:cubicBezTo>
                  <a:lnTo>
                    <a:pt x="28575" y="61911"/>
                  </a:lnTo>
                  <a:cubicBezTo>
                    <a:pt x="28575" y="51501"/>
                    <a:pt x="29332" y="44408"/>
                    <a:pt x="40067" y="41919"/>
                  </a:cubicBezTo>
                  <a:cubicBezTo>
                    <a:pt x="63613" y="37835"/>
                    <a:pt x="92811" y="36406"/>
                    <a:pt x="123351" y="40440"/>
                  </a:cubicBezTo>
                  <a:cubicBezTo>
                    <a:pt x="156830" y="44861"/>
                    <a:pt x="171450" y="47626"/>
                    <a:pt x="171450" y="95250"/>
                  </a:cubicBezTo>
                  <a:cubicBezTo>
                    <a:pt x="171450" y="142874"/>
                    <a:pt x="161925" y="152400"/>
                    <a:pt x="85725" y="152400"/>
                  </a:cubicBezTo>
                  <a:cubicBezTo>
                    <a:pt x="9525" y="152400"/>
                    <a:pt x="0" y="142874"/>
                    <a:pt x="0" y="9525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Рисунок 45">
              <a:extLst>
                <a:ext uri="{FF2B5EF4-FFF2-40B4-BE49-F238E27FC236}">
                  <a16:creationId xmlns:a16="http://schemas.microsoft.com/office/drawing/2014/main" id="{7B23E741-5146-9E8C-6552-396C650BA184}"/>
                </a:ext>
              </a:extLst>
            </p:cNvPr>
            <p:cNvSpPr/>
            <p:nvPr/>
          </p:nvSpPr>
          <p:spPr>
            <a:xfrm>
              <a:off x="9351646" y="2703916"/>
              <a:ext cx="441364" cy="441364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  <a:gd name="connsiteX5" fmla="*/ 85725 w 171450"/>
                <a:gd name="connsiteY5" fmla="*/ 38100 h 171450"/>
                <a:gd name="connsiteX6" fmla="*/ 76200 w 171450"/>
                <a:gd name="connsiteY6" fmla="*/ 47625 h 171450"/>
                <a:gd name="connsiteX7" fmla="*/ 76200 w 171450"/>
                <a:gd name="connsiteY7" fmla="*/ 85725 h 171450"/>
                <a:gd name="connsiteX8" fmla="*/ 78990 w 171450"/>
                <a:gd name="connsiteY8" fmla="*/ 92460 h 171450"/>
                <a:gd name="connsiteX9" fmla="*/ 107565 w 171450"/>
                <a:gd name="connsiteY9" fmla="*/ 121035 h 171450"/>
                <a:gd name="connsiteX10" fmla="*/ 121035 w 171450"/>
                <a:gd name="connsiteY10" fmla="*/ 121035 h 171450"/>
                <a:gd name="connsiteX11" fmla="*/ 121035 w 171450"/>
                <a:gd name="connsiteY11" fmla="*/ 107565 h 171450"/>
                <a:gd name="connsiteX12" fmla="*/ 95250 w 171450"/>
                <a:gd name="connsiteY12" fmla="*/ 81780 h 171450"/>
                <a:gd name="connsiteX13" fmla="*/ 95250 w 171450"/>
                <a:gd name="connsiteY13" fmla="*/ 47625 h 171450"/>
                <a:gd name="connsiteX14" fmla="*/ 85725 w 171450"/>
                <a:gd name="connsiteY14" fmla="*/ 3810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8915"/>
                    <a:pt x="138915" y="171450"/>
                    <a:pt x="85725" y="171450"/>
                  </a:cubicBezTo>
                  <a:cubicBezTo>
                    <a:pt x="32535" y="171450"/>
                    <a:pt x="0" y="138915"/>
                    <a:pt x="0" y="85725"/>
                  </a:cubicBezTo>
                  <a:cubicBezTo>
                    <a:pt x="0" y="32535"/>
                    <a:pt x="32535" y="0"/>
                    <a:pt x="85725" y="0"/>
                  </a:cubicBezTo>
                  <a:cubicBezTo>
                    <a:pt x="138915" y="0"/>
                    <a:pt x="171450" y="32535"/>
                    <a:pt x="171450" y="85725"/>
                  </a:cubicBezTo>
                  <a:close/>
                  <a:moveTo>
                    <a:pt x="85725" y="38100"/>
                  </a:moveTo>
                  <a:cubicBezTo>
                    <a:pt x="80464" y="38100"/>
                    <a:pt x="76200" y="42365"/>
                    <a:pt x="76200" y="47625"/>
                  </a:cubicBezTo>
                  <a:lnTo>
                    <a:pt x="76200" y="85725"/>
                  </a:lnTo>
                  <a:cubicBezTo>
                    <a:pt x="76200" y="88251"/>
                    <a:pt x="77204" y="90674"/>
                    <a:pt x="78990" y="92460"/>
                  </a:cubicBezTo>
                  <a:lnTo>
                    <a:pt x="107565" y="121035"/>
                  </a:lnTo>
                  <a:cubicBezTo>
                    <a:pt x="111284" y="124755"/>
                    <a:pt x="117316" y="124755"/>
                    <a:pt x="121035" y="121035"/>
                  </a:cubicBezTo>
                  <a:cubicBezTo>
                    <a:pt x="124755" y="117316"/>
                    <a:pt x="124755" y="111284"/>
                    <a:pt x="121035" y="107565"/>
                  </a:cubicBezTo>
                  <a:lnTo>
                    <a:pt x="95250" y="81780"/>
                  </a:lnTo>
                  <a:lnTo>
                    <a:pt x="95250" y="47625"/>
                  </a:lnTo>
                  <a:cubicBezTo>
                    <a:pt x="95250" y="42365"/>
                    <a:pt x="90986" y="38100"/>
                    <a:pt x="85725" y="381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cxnSp>
          <p:nvCxnSpPr>
            <p:cNvPr id="35" name="Прямая со стрелкой 34">
              <a:extLst>
                <a:ext uri="{FF2B5EF4-FFF2-40B4-BE49-F238E27FC236}">
                  <a16:creationId xmlns:a16="http://schemas.microsoft.com/office/drawing/2014/main" id="{8511EF89-E232-47EA-16ED-EFEFC9F51B17}"/>
                </a:ext>
              </a:extLst>
            </p:cNvPr>
            <p:cNvCxnSpPr/>
            <p:nvPr/>
          </p:nvCxnSpPr>
          <p:spPr>
            <a:xfrm>
              <a:off x="6569384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>
              <a:extLst>
                <a:ext uri="{FF2B5EF4-FFF2-40B4-BE49-F238E27FC236}">
                  <a16:creationId xmlns:a16="http://schemas.microsoft.com/office/drawing/2014/main" id="{E9DB9DEB-7ABB-AAEC-A2D2-B1E565D99A36}"/>
                </a:ext>
              </a:extLst>
            </p:cNvPr>
            <p:cNvCxnSpPr/>
            <p:nvPr/>
          </p:nvCxnSpPr>
          <p:spPr>
            <a:xfrm>
              <a:off x="7679047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 стрелкой 36">
              <a:extLst>
                <a:ext uri="{FF2B5EF4-FFF2-40B4-BE49-F238E27FC236}">
                  <a16:creationId xmlns:a16="http://schemas.microsoft.com/office/drawing/2014/main" id="{A56F00B3-DF8C-4350-CEF2-504AF8AD9107}"/>
                </a:ext>
              </a:extLst>
            </p:cNvPr>
            <p:cNvCxnSpPr/>
            <p:nvPr/>
          </p:nvCxnSpPr>
          <p:spPr>
            <a:xfrm>
              <a:off x="8759462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9CC8288E-5DFF-5906-0243-F1E4DFD81E8A}"/>
                </a:ext>
              </a:extLst>
            </p:cNvPr>
            <p:cNvCxnSpPr/>
            <p:nvPr/>
          </p:nvCxnSpPr>
          <p:spPr>
            <a:xfrm>
              <a:off x="9827067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8E4CF80-2976-98B1-8852-08B3F469B986}"/>
                </a:ext>
              </a:extLst>
            </p:cNvPr>
            <p:cNvSpPr txBox="1"/>
            <p:nvPr/>
          </p:nvSpPr>
          <p:spPr>
            <a:xfrm>
              <a:off x="7042394" y="3293410"/>
              <a:ext cx="748608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Веб-сервер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A8CF5E7-C4E4-0DA0-031B-42F4DA1EB66E}"/>
                </a:ext>
              </a:extLst>
            </p:cNvPr>
            <p:cNvSpPr txBox="1"/>
            <p:nvPr/>
          </p:nvSpPr>
          <p:spPr>
            <a:xfrm>
              <a:off x="8051323" y="3290052"/>
              <a:ext cx="877963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База данных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4C11804-3BD8-7297-9558-50EEA30CFD58}"/>
                </a:ext>
              </a:extLst>
            </p:cNvPr>
            <p:cNvSpPr txBox="1"/>
            <p:nvPr/>
          </p:nvSpPr>
          <p:spPr>
            <a:xfrm>
              <a:off x="9074876" y="3290052"/>
              <a:ext cx="994904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Планировщик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2F31B46-41CE-4795-407D-B980700EE07D}"/>
                </a:ext>
              </a:extLst>
            </p:cNvPr>
            <p:cNvSpPr txBox="1"/>
            <p:nvPr/>
          </p:nvSpPr>
          <p:spPr>
            <a:xfrm>
              <a:off x="10359064" y="3292132"/>
              <a:ext cx="483970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ОАГ</a:t>
              </a: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546D163E-FAF2-4872-DE55-53D6CCC28992}"/>
              </a:ext>
            </a:extLst>
          </p:cNvPr>
          <p:cNvSpPr txBox="1"/>
          <p:nvPr/>
        </p:nvSpPr>
        <p:spPr>
          <a:xfrm>
            <a:off x="639765" y="4898636"/>
            <a:ext cx="895481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b="1" dirty="0"/>
              <a:t>Веб-сервер</a:t>
            </a:r>
            <a:r>
              <a:rPr lang="ru-RU" sz="1400" dirty="0"/>
              <a:t> и </a:t>
            </a:r>
            <a:r>
              <a:rPr lang="ru-RU" sz="1400" b="1" dirty="0"/>
              <a:t>планировщик</a:t>
            </a:r>
            <a:r>
              <a:rPr lang="ru-RU" sz="1400" dirty="0"/>
              <a:t> – это процессы </a:t>
            </a:r>
            <a:r>
              <a:rPr lang="ru-RU" sz="1400" dirty="0" err="1"/>
              <a:t>Airflow</a:t>
            </a:r>
            <a:endParaRPr lang="ru-RU" sz="1400" dirty="0"/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b="1" dirty="0"/>
              <a:t>База данных </a:t>
            </a:r>
            <a:r>
              <a:rPr lang="ru-RU" sz="1400" dirty="0"/>
              <a:t>– отдельная служба, которую вы должны предоставить </a:t>
            </a:r>
            <a:r>
              <a:rPr lang="ru-RU" sz="1400" dirty="0" err="1"/>
              <a:t>Airflow</a:t>
            </a:r>
            <a:r>
              <a:rPr lang="ru-RU" sz="1400" dirty="0"/>
              <a:t> для хранения метаданных с веб-сервера и планировщика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Папка с определениями ОАГ должна быть доступна планировщику</a:t>
            </a:r>
          </a:p>
        </p:txBody>
      </p:sp>
    </p:spTree>
    <p:extLst>
      <p:ext uri="{BB962C8B-B14F-4D97-AF65-F5344CB8AC3E}">
        <p14:creationId xmlns:p14="http://schemas.microsoft.com/office/powerpoint/2010/main" val="17000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AEA0575-CCE6-38F6-1031-D78CDF0D3E35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45F9AA0-F219-AF78-1FC7-D0175FFBC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71A0630-49DF-DF25-21B4-A672B0BB7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готовка окружения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C549F42-7146-2B3A-ACEF-8DCE0E2ACAEE}"/>
              </a:ext>
            </a:extLst>
          </p:cNvPr>
          <p:cNvGrpSpPr/>
          <p:nvPr/>
        </p:nvGrpSpPr>
        <p:grpSpPr>
          <a:xfrm>
            <a:off x="697651" y="1787558"/>
            <a:ext cx="5279577" cy="369332"/>
            <a:chOff x="697651" y="4284681"/>
            <a:chExt cx="5279577" cy="36933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F54E98D-893D-DAB8-8AE4-26F94F7F843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Инициализация </a:t>
              </a:r>
              <a:r>
                <a:rPr lang="en" dirty="0"/>
                <a:t>Git</a:t>
              </a:r>
              <a:r>
                <a:rPr lang="ru-RU" dirty="0"/>
                <a:t>-репозитория</a:t>
              </a:r>
            </a:p>
          </p:txBody>
        </p:sp>
        <p:sp>
          <p:nvSpPr>
            <p:cNvPr id="10" name="Рисунок 15">
              <a:extLst>
                <a:ext uri="{FF2B5EF4-FFF2-40B4-BE49-F238E27FC236}">
                  <a16:creationId xmlns:a16="http://schemas.microsoft.com/office/drawing/2014/main" id="{568793B6-3F08-7166-D9CA-B32F67EC625A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8181AB5-39BC-50E0-D897-0191CDD87B4C}"/>
              </a:ext>
            </a:extLst>
          </p:cNvPr>
          <p:cNvGrpSpPr/>
          <p:nvPr/>
        </p:nvGrpSpPr>
        <p:grpSpPr>
          <a:xfrm>
            <a:off x="697651" y="2449811"/>
            <a:ext cx="5279577" cy="369332"/>
            <a:chOff x="697651" y="4284681"/>
            <a:chExt cx="5279577" cy="3693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F42DED9-12AD-405A-1E57-44E76E69D075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ние виртуального </a:t>
              </a:r>
              <a:r>
                <a:rPr lang="en" dirty="0"/>
                <a:t>Python</a:t>
              </a:r>
              <a:r>
                <a:rPr lang="ru-RU" dirty="0"/>
                <a:t>-окружения</a:t>
              </a:r>
            </a:p>
          </p:txBody>
        </p:sp>
        <p:sp>
          <p:nvSpPr>
            <p:cNvPr id="13" name="Рисунок 15">
              <a:extLst>
                <a:ext uri="{FF2B5EF4-FFF2-40B4-BE49-F238E27FC236}">
                  <a16:creationId xmlns:a16="http://schemas.microsoft.com/office/drawing/2014/main" id="{9866EC40-1302-FA86-EB9C-32881DC6ADD7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9206952-6D00-D3CF-BE84-200F3C04395A}"/>
              </a:ext>
            </a:extLst>
          </p:cNvPr>
          <p:cNvGrpSpPr/>
          <p:nvPr/>
        </p:nvGrpSpPr>
        <p:grpSpPr>
          <a:xfrm>
            <a:off x="695226" y="3112064"/>
            <a:ext cx="5279577" cy="369332"/>
            <a:chOff x="697651" y="4284681"/>
            <a:chExt cx="5279577" cy="36933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8B892B0-EEE8-2FC3-8733-F28433BF7F83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Установка внешних зависимостей</a:t>
              </a:r>
            </a:p>
          </p:txBody>
        </p:sp>
        <p:sp>
          <p:nvSpPr>
            <p:cNvPr id="16" name="Рисунок 15">
              <a:extLst>
                <a:ext uri="{FF2B5EF4-FFF2-40B4-BE49-F238E27FC236}">
                  <a16:creationId xmlns:a16="http://schemas.microsoft.com/office/drawing/2014/main" id="{88FF9B5F-8696-C08B-0634-BAED4CB38A7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C29D535-C5B7-875D-BFA4-C44721809A17}"/>
              </a:ext>
            </a:extLst>
          </p:cNvPr>
          <p:cNvGrpSpPr/>
          <p:nvPr/>
        </p:nvGrpSpPr>
        <p:grpSpPr>
          <a:xfrm>
            <a:off x="695226" y="3777865"/>
            <a:ext cx="5279577" cy="369332"/>
            <a:chOff x="697651" y="4284681"/>
            <a:chExt cx="5279577" cy="36933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42D8FB1-8348-7820-0637-2A7369E30312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Настройка </a:t>
              </a:r>
              <a:r>
                <a:rPr lang="en" dirty="0"/>
                <a:t>pre-commit</a:t>
              </a:r>
              <a:endParaRPr lang="ru-RU" dirty="0"/>
            </a:p>
          </p:txBody>
        </p:sp>
        <p:sp>
          <p:nvSpPr>
            <p:cNvPr id="19" name="Рисунок 15">
              <a:extLst>
                <a:ext uri="{FF2B5EF4-FFF2-40B4-BE49-F238E27FC236}">
                  <a16:creationId xmlns:a16="http://schemas.microsoft.com/office/drawing/2014/main" id="{C6C5D95A-6903-3524-A9D6-B757138A0561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2C4500FE-2731-2FCF-71F9-137610A57094}"/>
              </a:ext>
            </a:extLst>
          </p:cNvPr>
          <p:cNvGrpSpPr/>
          <p:nvPr/>
        </p:nvGrpSpPr>
        <p:grpSpPr>
          <a:xfrm>
            <a:off x="695226" y="4436570"/>
            <a:ext cx="5279577" cy="369332"/>
            <a:chOff x="697651" y="4284681"/>
            <a:chExt cx="5279577" cy="36933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9AC948-3D3D-E27B-2C59-E9429E10AEE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ние </a:t>
              </a:r>
              <a:r>
                <a:rPr lang="en" dirty="0" err="1"/>
                <a:t>Makefile</a:t>
              </a:r>
              <a:endParaRPr lang="ru-RU" dirty="0"/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661E383C-FDBB-58C2-8F6E-6957BBF216C5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AA139F8A-7F53-7FE9-6C87-A427C07CBF3E}"/>
              </a:ext>
            </a:extLst>
          </p:cNvPr>
          <p:cNvGrpSpPr/>
          <p:nvPr/>
        </p:nvGrpSpPr>
        <p:grpSpPr>
          <a:xfrm>
            <a:off x="695226" y="5095275"/>
            <a:ext cx="5279577" cy="369332"/>
            <a:chOff x="697651" y="4284681"/>
            <a:chExt cx="5279577" cy="36933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1749FB2-61E9-9980-0A4C-8C6CC69636D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дготовка переменных окружения</a:t>
              </a: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348FEFA2-DBED-68FE-9173-3825AFA3027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0AE6796-2EC6-4355-4DBE-23B5E9E57A8C}"/>
              </a:ext>
            </a:extLst>
          </p:cNvPr>
          <p:cNvGrpSpPr/>
          <p:nvPr/>
        </p:nvGrpSpPr>
        <p:grpSpPr>
          <a:xfrm>
            <a:off x="7675669" y="644985"/>
            <a:ext cx="3844711" cy="5568029"/>
            <a:chOff x="7705941" y="1280160"/>
            <a:chExt cx="3844711" cy="5568029"/>
          </a:xfrm>
        </p:grpSpPr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C56F06B2-894F-4019-62B9-A646BD8C299F}"/>
                </a:ext>
              </a:extLst>
            </p:cNvPr>
            <p:cNvSpPr/>
            <p:nvPr/>
          </p:nvSpPr>
          <p:spPr>
            <a:xfrm>
              <a:off x="7705941" y="1280160"/>
              <a:ext cx="3844711" cy="5568029"/>
            </a:xfrm>
            <a:prstGeom prst="roundRect">
              <a:avLst>
                <a:gd name="adj" fmla="val 8983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dirty="0" err="1"/>
            </a:p>
          </p:txBody>
        </p:sp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B9C9627F-70C4-A31C-1896-AF982103D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61999" y="1553955"/>
              <a:ext cx="3732350" cy="5020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739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8D58B0-8B29-A36D-809F-FEABC204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7094" y="3884017"/>
            <a:ext cx="6337811" cy="1560179"/>
          </a:xfrm>
        </p:spPr>
        <p:txBody>
          <a:bodyPr/>
          <a:lstStyle/>
          <a:p>
            <a:pPr algn="ctr"/>
            <a:r>
              <a:rPr lang="ru-RU" sz="4400" dirty="0"/>
              <a:t>Написание приложения на </a:t>
            </a:r>
            <a:r>
              <a:rPr lang="en" sz="4400" dirty="0" err="1"/>
              <a:t>FastAPI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348A51A-E289-174E-F7C3-86F730864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9</a:t>
            </a:fld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0C8C5F5-61EB-F1AD-4B76-03AE104DA3DC}"/>
              </a:ext>
            </a:extLst>
          </p:cNvPr>
          <p:cNvGrpSpPr/>
          <p:nvPr/>
        </p:nvGrpSpPr>
        <p:grpSpPr>
          <a:xfrm rot="21209267">
            <a:off x="4485247" y="2129477"/>
            <a:ext cx="3221501" cy="922870"/>
            <a:chOff x="4487594" y="942535"/>
            <a:chExt cx="5303520" cy="1519311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C3A36FB3-40D8-BCAF-55F2-A0B3E554AE45}"/>
                </a:ext>
              </a:extLst>
            </p:cNvPr>
            <p:cNvSpPr/>
            <p:nvPr/>
          </p:nvSpPr>
          <p:spPr>
            <a:xfrm>
              <a:off x="4487594" y="942535"/>
              <a:ext cx="5303520" cy="151931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dirty="0" err="1"/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1996BD2F-5129-D069-AAB7-35818F2E4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7548" y="1305956"/>
              <a:ext cx="4283612" cy="7924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401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zon_official_v1">
  <a:themeElements>
    <a:clrScheme name="Colors_Ozon Tech">
      <a:dk1>
        <a:srgbClr val="0E1114"/>
      </a:dk1>
      <a:lt1>
        <a:srgbClr val="FFFFFF"/>
      </a:lt1>
      <a:dk2>
        <a:srgbClr val="022B44"/>
      </a:dk2>
      <a:lt2>
        <a:srgbClr val="FFFFFF"/>
      </a:lt2>
      <a:accent1>
        <a:srgbClr val="005AFF"/>
      </a:accent1>
      <a:accent2>
        <a:srgbClr val="3ADE68"/>
      </a:accent2>
      <a:accent3>
        <a:srgbClr val="124C6D"/>
      </a:accent3>
      <a:accent4>
        <a:srgbClr val="5895FF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90089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15C7F7D2B501647919CFCCA94B55CF9" ma:contentTypeVersion="2" ma:contentTypeDescription="Создание документа." ma:contentTypeScope="" ma:versionID="a51346c19b7e7bce24b4d2be26e74dd4">
  <xsd:schema xmlns:xsd="http://www.w3.org/2001/XMLSchema" xmlns:xs="http://www.w3.org/2001/XMLSchema" xmlns:p="http://schemas.microsoft.com/office/2006/metadata/properties" xmlns:ns2="7d2d9768-b777-4564-b2e7-7de1a2113910" targetNamespace="http://schemas.microsoft.com/office/2006/metadata/properties" ma:root="true" ma:fieldsID="ea9a9454168fa7ca85afd3832a57f79f" ns2:_="">
    <xsd:import namespace="7d2d9768-b777-4564-b2e7-7de1a21139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2d9768-b777-4564-b2e7-7de1a21139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7CED29-FEBB-4EAD-B4F4-E096DBC21A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7D394E0-63DB-464B-A7E1-5826F9C43B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B958EE-38A5-41A2-ACF5-932DE91F91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2d9768-b777-4564-b2e7-7de1a21139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zon_official_v1</Template>
  <TotalTime>12401</TotalTime>
  <Words>579</Words>
  <Application>Microsoft Office PowerPoint</Application>
  <PresentationFormat>Widescreen</PresentationFormat>
  <Paragraphs>157</Paragraphs>
  <Slides>3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7" baseType="lpstr">
      <vt:lpstr>Arial</vt:lpstr>
      <vt:lpstr>Ozon_official_v1</vt:lpstr>
      <vt:lpstr>Слайд think-cell</vt:lpstr>
      <vt:lpstr>Apache Airflow</vt:lpstr>
      <vt:lpstr>PowerPoint Presentation</vt:lpstr>
      <vt:lpstr>PowerPoint Presentation</vt:lpstr>
      <vt:lpstr>PowerPoint Presentation</vt:lpstr>
      <vt:lpstr>Что такое Airflow</vt:lpstr>
      <vt:lpstr>Что такое DAG</vt:lpstr>
      <vt:lpstr>Архитектура Airflow</vt:lpstr>
      <vt:lpstr>Подготовка окружения</vt:lpstr>
      <vt:lpstr>Написание приложения на FastAPI</vt:lpstr>
      <vt:lpstr>fakerApi. Dockerfile</vt:lpstr>
      <vt:lpstr>fakerApi. Models</vt:lpstr>
      <vt:lpstr>fakerApi. Handlers</vt:lpstr>
      <vt:lpstr>fakerApi. Main</vt:lpstr>
      <vt:lpstr>Поднимем Postgres, Clickhouse, Minio и fakerApi</vt:lpstr>
      <vt:lpstr>Postgres</vt:lpstr>
      <vt:lpstr>Clickhouse</vt:lpstr>
      <vt:lpstr>Minio</vt:lpstr>
      <vt:lpstr>fakerApi</vt:lpstr>
      <vt:lpstr>Базовые концепции</vt:lpstr>
      <vt:lpstr>DAG</vt:lpstr>
      <vt:lpstr>Cron</vt:lpstr>
      <vt:lpstr>DummyOperator</vt:lpstr>
      <vt:lpstr>BashOperator</vt:lpstr>
      <vt:lpstr>PythonOperator</vt:lpstr>
      <vt:lpstr>SqlOperator</vt:lpstr>
      <vt:lpstr>ExternalTaskOperator</vt:lpstr>
      <vt:lpstr>executionOrder</vt:lpstr>
      <vt:lpstr>LiveCoding. Airflow</vt:lpstr>
      <vt:lpstr>LiveCoding. Airflow. Basic DAG</vt:lpstr>
      <vt:lpstr>LiveCoding. Airflow. Advanced DAG</vt:lpstr>
      <vt:lpstr>MapReduce</vt:lpstr>
      <vt:lpstr>Заключение</vt:lpstr>
      <vt:lpstr>Data Analyst Intern</vt:lpstr>
      <vt:lpstr>Спасибо за внимание!</vt:lpstr>
    </vt:vector>
  </TitlesOfParts>
  <Company>OZ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strovlyanchik Pavel Viktorovich</dc:creator>
  <cp:lastModifiedBy>Антон Шишков</cp:lastModifiedBy>
  <cp:revision>361</cp:revision>
  <cp:lastPrinted>2024-02-06T10:57:54Z</cp:lastPrinted>
  <dcterms:created xsi:type="dcterms:W3CDTF">2022-12-14T11:41:06Z</dcterms:created>
  <dcterms:modified xsi:type="dcterms:W3CDTF">2025-03-04T14:2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5C7F7D2B501647919CFCCA94B55CF9</vt:lpwstr>
  </property>
</Properties>
</file>